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3"/>
  </p:notesMasterIdLst>
  <p:sldIdLst>
    <p:sldId id="256" r:id="rId6"/>
    <p:sldId id="2141411709" r:id="rId7"/>
    <p:sldId id="2141411714" r:id="rId8"/>
    <p:sldId id="2141411713" r:id="rId9"/>
    <p:sldId id="2141411702" r:id="rId10"/>
    <p:sldId id="2141411704" r:id="rId11"/>
    <p:sldId id="2141411707" r:id="rId12"/>
    <p:sldId id="2141411710" r:id="rId13"/>
    <p:sldId id="2141411718" r:id="rId14"/>
    <p:sldId id="2141411712" r:id="rId15"/>
    <p:sldId id="2141411697" r:id="rId16"/>
    <p:sldId id="2141411664" r:id="rId17"/>
    <p:sldId id="2141411715" r:id="rId18"/>
    <p:sldId id="2141411724" r:id="rId19"/>
    <p:sldId id="2141411701" r:id="rId20"/>
    <p:sldId id="2141411716" r:id="rId21"/>
    <p:sldId id="2141411722" r:id="rId22"/>
  </p:sldIdLst>
  <p:sldSz cx="12192000" cy="6858000"/>
  <p:notesSz cx="9385300" cy="70993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6FBE19C-6F5F-426C-B890-AD961543F891}">
          <p14:sldIdLst>
            <p14:sldId id="256"/>
            <p14:sldId id="2141411709"/>
            <p14:sldId id="2141411714"/>
            <p14:sldId id="2141411713"/>
            <p14:sldId id="2141411702"/>
            <p14:sldId id="2141411704"/>
            <p14:sldId id="2141411707"/>
            <p14:sldId id="2141411710"/>
            <p14:sldId id="2141411718"/>
            <p14:sldId id="2141411712"/>
            <p14:sldId id="2141411697"/>
            <p14:sldId id="2141411664"/>
            <p14:sldId id="2141411715"/>
            <p14:sldId id="2141411724"/>
            <p14:sldId id="2141411701"/>
            <p14:sldId id="2141411716"/>
            <p14:sldId id="2141411722"/>
          </p14:sldIdLst>
        </p14:section>
        <p14:section name="backup" id="{F5AD16C7-7642-42B1-AF7E-7919EB152E77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EC0FC74-3AE0-E905-50CA-2BFAA96516A3}" name="Wang, Peili" initials="WP" userId="S::wangp103@pfizer.com::95f81b23-c812-470c-aca8-455e8f0787ab" providerId="AD"/>
  <p188:author id="{0014DFB8-54EC-651A-6F43-F4A8E1487970}" name="Brickey, Katie" initials="KB" userId="S::BRICKK@pfizer.com::af038014-3741-464f-a556-168c59a3292a" providerId="AD"/>
  <p188:author id="{67494BBC-097B-BF92-F4F1-EEBC267D199B}" name="Wang, Peili" initials="PW" userId="S::WANGP103@pfizer.com::95f81b23-c812-470c-aca8-455e8f0787a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BCF839-F4F0-4CC7-A40D-EF82CE35E2B5}" v="23" dt="2025-06-10T14:16:08.237"/>
    <p1510:client id="{BD1CAAAE-42F3-48FD-95FE-ED712E9B15A5}" v="2" dt="2025-06-09T21:31:29.072"/>
    <p1510:client id="{BDC275F4-0EB0-4234-BBBE-6A43EB0A4439}" v="116" dt="2025-06-09T19:16:49.709"/>
    <p1510:client id="{EA53CD20-AA62-6E3E-3A0C-EE71E55F4150}" v="1" dt="2025-06-10T14:21:54.3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552" autoAdjust="0"/>
  </p:normalViewPr>
  <p:slideViewPr>
    <p:cSldViewPr snapToGrid="0">
      <p:cViewPr varScale="1">
        <p:scale>
          <a:sx n="142" d="100"/>
          <a:sy n="142" d="100"/>
        </p:scale>
        <p:origin x="3204" y="3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ng, Peili" userId="95f81b23-c812-470c-aca8-455e8f0787ab" providerId="ADAL" clId="{BD1CAAAE-42F3-48FD-95FE-ED712E9B15A5}"/>
    <pc:docChg chg="modNotesMaster">
      <pc:chgData name="Wang, Peili" userId="95f81b23-c812-470c-aca8-455e8f0787ab" providerId="ADAL" clId="{BD1CAAAE-42F3-48FD-95FE-ED712E9B15A5}" dt="2025-06-09T21:31:29.072" v="1"/>
      <pc:docMkLst>
        <pc:docMk/>
      </pc:docMkLst>
    </pc:docChg>
  </pc:docChgLst>
  <pc:docChgLst>
    <pc:chgData name="Wang, Peili" userId="95f81b23-c812-470c-aca8-455e8f0787ab" providerId="ADAL" clId="{6DC48D82-8F5F-42AD-97ED-E3BB90CBB7A6}"/>
    <pc:docChg chg="undo custSel addSld delSld modSld sldOrd">
      <pc:chgData name="Wang, Peili" userId="95f81b23-c812-470c-aca8-455e8f0787ab" providerId="ADAL" clId="{6DC48D82-8F5F-42AD-97ED-E3BB90CBB7A6}" dt="2025-04-25T14:53:15.461" v="2671" actId="1076"/>
      <pc:docMkLst>
        <pc:docMk/>
      </pc:docMkLst>
      <pc:sldChg chg="del">
        <pc:chgData name="Wang, Peili" userId="95f81b23-c812-470c-aca8-455e8f0787ab" providerId="ADAL" clId="{6DC48D82-8F5F-42AD-97ED-E3BB90CBB7A6}" dt="2025-04-25T13:33:06.112" v="11" actId="47"/>
        <pc:sldMkLst>
          <pc:docMk/>
          <pc:sldMk cId="588215222" sldId="259"/>
        </pc:sldMkLst>
      </pc:sldChg>
      <pc:sldChg chg="del ord">
        <pc:chgData name="Wang, Peili" userId="95f81b23-c812-470c-aca8-455e8f0787ab" providerId="ADAL" clId="{6DC48D82-8F5F-42AD-97ED-E3BB90CBB7A6}" dt="2025-04-25T14:32:39.994" v="2086" actId="47"/>
        <pc:sldMkLst>
          <pc:docMk/>
          <pc:sldMk cId="1257411108" sldId="261"/>
        </pc:sldMkLst>
      </pc:sldChg>
      <pc:sldChg chg="del ord">
        <pc:chgData name="Wang, Peili" userId="95f81b23-c812-470c-aca8-455e8f0787ab" providerId="ADAL" clId="{6DC48D82-8F5F-42AD-97ED-E3BB90CBB7A6}" dt="2025-04-25T14:33:06.348" v="2089" actId="47"/>
        <pc:sldMkLst>
          <pc:docMk/>
          <pc:sldMk cId="3290791774" sldId="262"/>
        </pc:sldMkLst>
      </pc:sldChg>
      <pc:sldChg chg="ord">
        <pc:chgData name="Wang, Peili" userId="95f81b23-c812-470c-aca8-455e8f0787ab" providerId="ADAL" clId="{6DC48D82-8F5F-42AD-97ED-E3BB90CBB7A6}" dt="2025-04-25T14:24:39.433" v="1958"/>
        <pc:sldMkLst>
          <pc:docMk/>
          <pc:sldMk cId="3539023228" sldId="263"/>
        </pc:sldMkLst>
      </pc:sldChg>
      <pc:sldChg chg="del">
        <pc:chgData name="Wang, Peili" userId="95f81b23-c812-470c-aca8-455e8f0787ab" providerId="ADAL" clId="{6DC48D82-8F5F-42AD-97ED-E3BB90CBB7A6}" dt="2025-04-25T14:29:17.794" v="1978" actId="47"/>
        <pc:sldMkLst>
          <pc:docMk/>
          <pc:sldMk cId="844243613" sldId="1151"/>
        </pc:sldMkLst>
      </pc:sldChg>
      <pc:sldChg chg="del">
        <pc:chgData name="Wang, Peili" userId="95f81b23-c812-470c-aca8-455e8f0787ab" providerId="ADAL" clId="{6DC48D82-8F5F-42AD-97ED-E3BB90CBB7A6}" dt="2025-04-25T13:52:59.303" v="1549" actId="47"/>
        <pc:sldMkLst>
          <pc:docMk/>
          <pc:sldMk cId="880338055" sldId="1255"/>
        </pc:sldMkLst>
      </pc:sldChg>
      <pc:sldChg chg="del">
        <pc:chgData name="Wang, Peili" userId="95f81b23-c812-470c-aca8-455e8f0787ab" providerId="ADAL" clId="{6DC48D82-8F5F-42AD-97ED-E3BB90CBB7A6}" dt="2025-04-25T14:29:43.338" v="1980" actId="47"/>
        <pc:sldMkLst>
          <pc:docMk/>
          <pc:sldMk cId="74968795" sldId="1256"/>
        </pc:sldMkLst>
      </pc:sldChg>
      <pc:sldChg chg="del">
        <pc:chgData name="Wang, Peili" userId="95f81b23-c812-470c-aca8-455e8f0787ab" providerId="ADAL" clId="{6DC48D82-8F5F-42AD-97ED-E3BB90CBB7A6}" dt="2025-04-25T14:29:14.413" v="1976" actId="47"/>
        <pc:sldMkLst>
          <pc:docMk/>
          <pc:sldMk cId="935659814" sldId="1257"/>
        </pc:sldMkLst>
      </pc:sldChg>
      <pc:sldChg chg="del">
        <pc:chgData name="Wang, Peili" userId="95f81b23-c812-470c-aca8-455e8f0787ab" providerId="ADAL" clId="{6DC48D82-8F5F-42AD-97ED-E3BB90CBB7A6}" dt="2025-04-25T14:29:26.883" v="1979" actId="47"/>
        <pc:sldMkLst>
          <pc:docMk/>
          <pc:sldMk cId="3974431478" sldId="2141411658"/>
        </pc:sldMkLst>
      </pc:sldChg>
      <pc:sldChg chg="del">
        <pc:chgData name="Wang, Peili" userId="95f81b23-c812-470c-aca8-455e8f0787ab" providerId="ADAL" clId="{6DC48D82-8F5F-42AD-97ED-E3BB90CBB7A6}" dt="2025-04-25T13:53:00.772" v="1550" actId="47"/>
        <pc:sldMkLst>
          <pc:docMk/>
          <pc:sldMk cId="1814180109" sldId="2141411659"/>
        </pc:sldMkLst>
      </pc:sldChg>
      <pc:sldChg chg="del">
        <pc:chgData name="Wang, Peili" userId="95f81b23-c812-470c-aca8-455e8f0787ab" providerId="ADAL" clId="{6DC48D82-8F5F-42AD-97ED-E3BB90CBB7A6}" dt="2025-04-25T14:29:16.256" v="1977" actId="47"/>
        <pc:sldMkLst>
          <pc:docMk/>
          <pc:sldMk cId="1484855175" sldId="2141411660"/>
        </pc:sldMkLst>
      </pc:sldChg>
      <pc:sldChg chg="modSp add del mod">
        <pc:chgData name="Wang, Peili" userId="95f81b23-c812-470c-aca8-455e8f0787ab" providerId="ADAL" clId="{6DC48D82-8F5F-42AD-97ED-E3BB90CBB7A6}" dt="2025-04-25T14:24:23.556" v="1956" actId="47"/>
        <pc:sldMkLst>
          <pc:docMk/>
          <pc:sldMk cId="1106917608" sldId="2141411661"/>
        </pc:sldMkLst>
      </pc:sldChg>
      <pc:sldChg chg="new del">
        <pc:chgData name="Wang, Peili" userId="95f81b23-c812-470c-aca8-455e8f0787ab" providerId="ADAL" clId="{6DC48D82-8F5F-42AD-97ED-E3BB90CBB7A6}" dt="2025-04-25T13:31:52.312" v="1" actId="47"/>
        <pc:sldMkLst>
          <pc:docMk/>
          <pc:sldMk cId="1284765805" sldId="2141411661"/>
        </pc:sldMkLst>
      </pc:sldChg>
      <pc:sldChg chg="new del">
        <pc:chgData name="Wang, Peili" userId="95f81b23-c812-470c-aca8-455e8f0787ab" providerId="ADAL" clId="{6DC48D82-8F5F-42AD-97ED-E3BB90CBB7A6}" dt="2025-04-25T13:33:40.410" v="13" actId="47"/>
        <pc:sldMkLst>
          <pc:docMk/>
          <pc:sldMk cId="768547238" sldId="2141411662"/>
        </pc:sldMkLst>
      </pc:sldChg>
      <pc:sldChg chg="modSp add mod">
        <pc:chgData name="Wang, Peili" userId="95f81b23-c812-470c-aca8-455e8f0787ab" providerId="ADAL" clId="{6DC48D82-8F5F-42AD-97ED-E3BB90CBB7A6}" dt="2025-04-25T13:36:21.281" v="151" actId="20577"/>
        <pc:sldMkLst>
          <pc:docMk/>
          <pc:sldMk cId="1474093788" sldId="2141411662"/>
        </pc:sldMkLst>
      </pc:sldChg>
      <pc:sldChg chg="new del">
        <pc:chgData name="Wang, Peili" userId="95f81b23-c812-470c-aca8-455e8f0787ab" providerId="ADAL" clId="{6DC48D82-8F5F-42AD-97ED-E3BB90CBB7A6}" dt="2025-04-25T13:33:54.199" v="15" actId="680"/>
        <pc:sldMkLst>
          <pc:docMk/>
          <pc:sldMk cId="1710281300" sldId="2141411662"/>
        </pc:sldMkLst>
      </pc:sldChg>
      <pc:sldChg chg="addSp delSp modSp new mod modClrScheme chgLayout">
        <pc:chgData name="Wang, Peili" userId="95f81b23-c812-470c-aca8-455e8f0787ab" providerId="ADAL" clId="{6DC48D82-8F5F-42AD-97ED-E3BB90CBB7A6}" dt="2025-04-25T14:27:00.913" v="1975" actId="20577"/>
        <pc:sldMkLst>
          <pc:docMk/>
          <pc:sldMk cId="55963239" sldId="2141411663"/>
        </pc:sldMkLst>
      </pc:sldChg>
      <pc:sldChg chg="add del">
        <pc:chgData name="Wang, Peili" userId="95f81b23-c812-470c-aca8-455e8f0787ab" providerId="ADAL" clId="{6DC48D82-8F5F-42AD-97ED-E3BB90CBB7A6}" dt="2025-04-25T13:36:56.620" v="153" actId="47"/>
        <pc:sldMkLst>
          <pc:docMk/>
          <pc:sldMk cId="1969052184" sldId="2141411663"/>
        </pc:sldMkLst>
      </pc:sldChg>
      <pc:sldChg chg="addSp delSp modSp add mod delAnim">
        <pc:chgData name="Wang, Peili" userId="95f81b23-c812-470c-aca8-455e8f0787ab" providerId="ADAL" clId="{6DC48D82-8F5F-42AD-97ED-E3BB90CBB7A6}" dt="2025-04-25T14:33:12.896" v="2090" actId="20577"/>
        <pc:sldMkLst>
          <pc:docMk/>
          <pc:sldMk cId="3957938303" sldId="2141411664"/>
        </pc:sldMkLst>
        <pc:spChg chg="mod">
          <ac:chgData name="Wang, Peili" userId="95f81b23-c812-470c-aca8-455e8f0787ab" providerId="ADAL" clId="{6DC48D82-8F5F-42AD-97ED-E3BB90CBB7A6}" dt="2025-04-25T14:33:12.896" v="2090" actId="20577"/>
          <ac:spMkLst>
            <pc:docMk/>
            <pc:sldMk cId="3957938303" sldId="2141411664"/>
            <ac:spMk id="5" creationId="{1CB07FB5-2A7B-A251-6951-025757E3C9D3}"/>
          </ac:spMkLst>
        </pc:spChg>
        <pc:spChg chg="add mod">
          <ac:chgData name="Wang, Peili" userId="95f81b23-c812-470c-aca8-455e8f0787ab" providerId="ADAL" clId="{6DC48D82-8F5F-42AD-97ED-E3BB90CBB7A6}" dt="2025-04-25T14:32:46.961" v="2087" actId="20577"/>
          <ac:spMkLst>
            <pc:docMk/>
            <pc:sldMk cId="3957938303" sldId="2141411664"/>
            <ac:spMk id="10" creationId="{45ACA124-1645-86D9-9322-3BC88BE9424D}"/>
          </ac:spMkLst>
        </pc:spChg>
        <pc:spChg chg="mod">
          <ac:chgData name="Wang, Peili" userId="95f81b23-c812-470c-aca8-455e8f0787ab" providerId="ADAL" clId="{6DC48D82-8F5F-42AD-97ED-E3BB90CBB7A6}" dt="2025-04-25T14:31:51.496" v="2023" actId="1076"/>
          <ac:spMkLst>
            <pc:docMk/>
            <pc:sldMk cId="3957938303" sldId="2141411664"/>
            <ac:spMk id="21" creationId="{E8364A93-4A01-2927-E9E8-E3CBF815F69F}"/>
          </ac:spMkLst>
        </pc:spChg>
        <pc:grpChg chg="mod">
          <ac:chgData name="Wang, Peili" userId="95f81b23-c812-470c-aca8-455e8f0787ab" providerId="ADAL" clId="{6DC48D82-8F5F-42AD-97ED-E3BB90CBB7A6}" dt="2025-04-25T14:30:30.704" v="1984" actId="1076"/>
          <ac:grpSpMkLst>
            <pc:docMk/>
            <pc:sldMk cId="3957938303" sldId="2141411664"/>
            <ac:grpSpMk id="19" creationId="{3AF5C1C8-3059-BD9D-78CE-DCFF17DB029B}"/>
          </ac:grpSpMkLst>
        </pc:grpChg>
      </pc:sldChg>
      <pc:sldChg chg="modSp new del mod">
        <pc:chgData name="Wang, Peili" userId="95f81b23-c812-470c-aca8-455e8f0787ab" providerId="ADAL" clId="{6DC48D82-8F5F-42AD-97ED-E3BB90CBB7A6}" dt="2025-04-25T14:34:45.144" v="2116" actId="47"/>
        <pc:sldMkLst>
          <pc:docMk/>
          <pc:sldMk cId="1020181471" sldId="2141411665"/>
        </pc:sldMkLst>
      </pc:sldChg>
      <pc:sldChg chg="addSp delSp modSp add mod ord">
        <pc:chgData name="Wang, Peili" userId="95f81b23-c812-470c-aca8-455e8f0787ab" providerId="ADAL" clId="{6DC48D82-8F5F-42AD-97ED-E3BB90CBB7A6}" dt="2025-04-25T14:42:53.972" v="2482" actId="20577"/>
        <pc:sldMkLst>
          <pc:docMk/>
          <pc:sldMk cId="1940392608" sldId="2141411682"/>
        </pc:sldMkLst>
      </pc:sldChg>
      <pc:sldChg chg="addSp modSp new mod">
        <pc:chgData name="Wang, Peili" userId="95f81b23-c812-470c-aca8-455e8f0787ab" providerId="ADAL" clId="{6DC48D82-8F5F-42AD-97ED-E3BB90CBB7A6}" dt="2025-04-25T14:39:13.304" v="2158" actId="20577"/>
        <pc:sldMkLst>
          <pc:docMk/>
          <pc:sldMk cId="4020335415" sldId="2141411683"/>
        </pc:sldMkLst>
      </pc:sldChg>
      <pc:sldChg chg="addSp modSp new mod">
        <pc:chgData name="Wang, Peili" userId="95f81b23-c812-470c-aca8-455e8f0787ab" providerId="ADAL" clId="{6DC48D82-8F5F-42AD-97ED-E3BB90CBB7A6}" dt="2025-04-25T14:53:15.461" v="2671" actId="1076"/>
        <pc:sldMkLst>
          <pc:docMk/>
          <pc:sldMk cId="3988037883" sldId="2141411684"/>
        </pc:sldMkLst>
      </pc:sldChg>
      <pc:sldMasterChg chg="delSldLayout">
        <pc:chgData name="Wang, Peili" userId="95f81b23-c812-470c-aca8-455e8f0787ab" providerId="ADAL" clId="{6DC48D82-8F5F-42AD-97ED-E3BB90CBB7A6}" dt="2025-04-25T14:29:43.338" v="1980" actId="47"/>
        <pc:sldMasterMkLst>
          <pc:docMk/>
          <pc:sldMasterMk cId="3175229041" sldId="2147483660"/>
        </pc:sldMasterMkLst>
        <pc:sldLayoutChg chg="del">
          <pc:chgData name="Wang, Peili" userId="95f81b23-c812-470c-aca8-455e8f0787ab" providerId="ADAL" clId="{6DC48D82-8F5F-42AD-97ED-E3BB90CBB7A6}" dt="2025-04-25T13:52:59.303" v="1549" actId="47"/>
          <pc:sldLayoutMkLst>
            <pc:docMk/>
            <pc:sldMasterMk cId="3175229041" sldId="2147483660"/>
            <pc:sldLayoutMk cId="1498713622" sldId="2147483679"/>
          </pc:sldLayoutMkLst>
        </pc:sldLayoutChg>
        <pc:sldLayoutChg chg="del">
          <pc:chgData name="Wang, Peili" userId="95f81b23-c812-470c-aca8-455e8f0787ab" providerId="ADAL" clId="{6DC48D82-8F5F-42AD-97ED-E3BB90CBB7A6}" dt="2025-04-25T13:53:00.772" v="1550" actId="47"/>
          <pc:sldLayoutMkLst>
            <pc:docMk/>
            <pc:sldMasterMk cId="3175229041" sldId="2147483660"/>
            <pc:sldLayoutMk cId="2001347921" sldId="2147483680"/>
          </pc:sldLayoutMkLst>
        </pc:sldLayoutChg>
        <pc:sldLayoutChg chg="del">
          <pc:chgData name="Wang, Peili" userId="95f81b23-c812-470c-aca8-455e8f0787ab" providerId="ADAL" clId="{6DC48D82-8F5F-42AD-97ED-E3BB90CBB7A6}" dt="2025-04-25T14:29:43.338" v="1980" actId="47"/>
          <pc:sldLayoutMkLst>
            <pc:docMk/>
            <pc:sldMasterMk cId="3175229041" sldId="2147483660"/>
            <pc:sldLayoutMk cId="3477162859" sldId="2147483682"/>
          </pc:sldLayoutMkLst>
        </pc:sldLayoutChg>
        <pc:sldLayoutChg chg="del">
          <pc:chgData name="Wang, Peili" userId="95f81b23-c812-470c-aca8-455e8f0787ab" providerId="ADAL" clId="{6DC48D82-8F5F-42AD-97ED-E3BB90CBB7A6}" dt="2025-04-25T14:29:16.256" v="1977" actId="47"/>
          <pc:sldLayoutMkLst>
            <pc:docMk/>
            <pc:sldMasterMk cId="3175229041" sldId="2147483660"/>
            <pc:sldLayoutMk cId="2250750078" sldId="2147483683"/>
          </pc:sldLayoutMkLst>
        </pc:sldLayoutChg>
        <pc:sldLayoutChg chg="del">
          <pc:chgData name="Wang, Peili" userId="95f81b23-c812-470c-aca8-455e8f0787ab" providerId="ADAL" clId="{6DC48D82-8F5F-42AD-97ED-E3BB90CBB7A6}" dt="2025-04-25T14:29:17.794" v="1978" actId="47"/>
          <pc:sldLayoutMkLst>
            <pc:docMk/>
            <pc:sldMasterMk cId="3175229041" sldId="2147483660"/>
            <pc:sldLayoutMk cId="2873669352" sldId="2147483684"/>
          </pc:sldLayoutMkLst>
        </pc:sldLayoutChg>
        <pc:sldLayoutChg chg="del">
          <pc:chgData name="Wang, Peili" userId="95f81b23-c812-470c-aca8-455e8f0787ab" providerId="ADAL" clId="{6DC48D82-8F5F-42AD-97ED-E3BB90CBB7A6}" dt="2025-04-25T14:29:26.883" v="1979" actId="47"/>
          <pc:sldLayoutMkLst>
            <pc:docMk/>
            <pc:sldMasterMk cId="3175229041" sldId="2147483660"/>
            <pc:sldLayoutMk cId="2152822875" sldId="2147483685"/>
          </pc:sldLayoutMkLst>
        </pc:sldLayoutChg>
      </pc:sldMasterChg>
    </pc:docChg>
  </pc:docChgLst>
  <pc:docChgLst>
    <pc:chgData name="Wang, Peili" userId="S::wangp103@pfizer.com::95f81b23-c812-470c-aca8-455e8f0787ab" providerId="AD" clId="Web-{193C5070-682B-83BE-71B8-4EA537ABD704}"/>
    <pc:docChg chg="mod modSld">
      <pc:chgData name="Wang, Peili" userId="S::wangp103@pfizer.com::95f81b23-c812-470c-aca8-455e8f0787ab" providerId="AD" clId="Web-{193C5070-682B-83BE-71B8-4EA537ABD704}" dt="2025-05-02T18:56:53.382" v="112" actId="20577"/>
      <pc:docMkLst>
        <pc:docMk/>
      </pc:docMkLst>
      <pc:sldChg chg="modSp">
        <pc:chgData name="Wang, Peili" userId="S::wangp103@pfizer.com::95f81b23-c812-470c-aca8-455e8f0787ab" providerId="AD" clId="Web-{193C5070-682B-83BE-71B8-4EA537ABD704}" dt="2025-05-02T17:09:24.458" v="80" actId="20577"/>
        <pc:sldMkLst>
          <pc:docMk/>
          <pc:sldMk cId="1474093788" sldId="2141411662"/>
        </pc:sldMkLst>
      </pc:sldChg>
      <pc:sldChg chg="modSp">
        <pc:chgData name="Wang, Peili" userId="S::wangp103@pfizer.com::95f81b23-c812-470c-aca8-455e8f0787ab" providerId="AD" clId="Web-{193C5070-682B-83BE-71B8-4EA537ABD704}" dt="2025-05-02T18:56:53.382" v="112" actId="20577"/>
        <pc:sldMkLst>
          <pc:docMk/>
          <pc:sldMk cId="3957938303" sldId="2141411664"/>
        </pc:sldMkLst>
        <pc:spChg chg="mod">
          <ac:chgData name="Wang, Peili" userId="S::wangp103@pfizer.com::95f81b23-c812-470c-aca8-455e8f0787ab" providerId="AD" clId="Web-{193C5070-682B-83BE-71B8-4EA537ABD704}" dt="2025-05-02T18:56:53.382" v="112" actId="20577"/>
          <ac:spMkLst>
            <pc:docMk/>
            <pc:sldMk cId="3957938303" sldId="2141411664"/>
            <ac:spMk id="10" creationId="{45ACA124-1645-86D9-9322-3BC88BE9424D}"/>
          </ac:spMkLst>
        </pc:spChg>
      </pc:sldChg>
      <pc:sldChg chg="modSp">
        <pc:chgData name="Wang, Peili" userId="S::wangp103@pfizer.com::95f81b23-c812-470c-aca8-455e8f0787ab" providerId="AD" clId="Web-{193C5070-682B-83BE-71B8-4EA537ABD704}" dt="2025-05-02T17:18:14.383" v="111" actId="20577"/>
        <pc:sldMkLst>
          <pc:docMk/>
          <pc:sldMk cId="1940392608" sldId="2141411682"/>
        </pc:sldMkLst>
      </pc:sldChg>
      <pc:sldChg chg="modSp">
        <pc:chgData name="Wang, Peili" userId="S::wangp103@pfizer.com::95f81b23-c812-470c-aca8-455e8f0787ab" providerId="AD" clId="Web-{193C5070-682B-83BE-71B8-4EA537ABD704}" dt="2025-05-02T15:51:18.588" v="1"/>
        <pc:sldMkLst>
          <pc:docMk/>
          <pc:sldMk cId="1619385992" sldId="2141411687"/>
        </pc:sldMkLst>
      </pc:sldChg>
      <pc:sldChg chg="modSp">
        <pc:chgData name="Wang, Peili" userId="S::wangp103@pfizer.com::95f81b23-c812-470c-aca8-455e8f0787ab" providerId="AD" clId="Web-{193C5070-682B-83BE-71B8-4EA537ABD704}" dt="2025-05-02T17:08:10.627" v="71" actId="1076"/>
        <pc:sldMkLst>
          <pc:docMk/>
          <pc:sldMk cId="338016616" sldId="2141411690"/>
        </pc:sldMkLst>
      </pc:sldChg>
    </pc:docChg>
  </pc:docChgLst>
  <pc:docChgLst>
    <pc:chgData name="Wang, Peili" userId="95f81b23-c812-470c-aca8-455e8f0787ab" providerId="ADAL" clId="{FEAAD0D7-929D-4285-A6A9-99D27BB35C2A}"/>
    <pc:docChg chg="undo custSel addSld delSld modSld sldOrd modSection">
      <pc:chgData name="Wang, Peili" userId="95f81b23-c812-470c-aca8-455e8f0787ab" providerId="ADAL" clId="{FEAAD0D7-929D-4285-A6A9-99D27BB35C2A}" dt="2025-05-10T00:15:21.297" v="2767" actId="47"/>
      <pc:docMkLst>
        <pc:docMk/>
      </pc:docMkLst>
      <pc:sldChg chg="del">
        <pc:chgData name="Wang, Peili" userId="95f81b23-c812-470c-aca8-455e8f0787ab" providerId="ADAL" clId="{FEAAD0D7-929D-4285-A6A9-99D27BB35C2A}" dt="2025-05-10T00:15:10.914" v="2764" actId="47"/>
        <pc:sldMkLst>
          <pc:docMk/>
          <pc:sldMk cId="3539023228" sldId="263"/>
        </pc:sldMkLst>
      </pc:sldChg>
      <pc:sldChg chg="del">
        <pc:chgData name="Wang, Peili" userId="95f81b23-c812-470c-aca8-455e8f0787ab" providerId="ADAL" clId="{FEAAD0D7-929D-4285-A6A9-99D27BB35C2A}" dt="2025-05-10T00:15:21.297" v="2767" actId="47"/>
        <pc:sldMkLst>
          <pc:docMk/>
          <pc:sldMk cId="3717598166" sldId="264"/>
        </pc:sldMkLst>
      </pc:sldChg>
      <pc:sldChg chg="modSp mod">
        <pc:chgData name="Wang, Peili" userId="95f81b23-c812-470c-aca8-455e8f0787ab" providerId="ADAL" clId="{FEAAD0D7-929D-4285-A6A9-99D27BB35C2A}" dt="2025-05-10T00:14:59.086" v="2763" actId="6549"/>
        <pc:sldMkLst>
          <pc:docMk/>
          <pc:sldMk cId="1474093788" sldId="2141411662"/>
        </pc:sldMkLst>
      </pc:sldChg>
      <pc:sldChg chg="ord">
        <pc:chgData name="Wang, Peili" userId="95f81b23-c812-470c-aca8-455e8f0787ab" providerId="ADAL" clId="{FEAAD0D7-929D-4285-A6A9-99D27BB35C2A}" dt="2025-05-10T00:15:16.153" v="2766"/>
        <pc:sldMkLst>
          <pc:docMk/>
          <pc:sldMk cId="1940392608" sldId="2141411682"/>
        </pc:sldMkLst>
      </pc:sldChg>
      <pc:sldChg chg="del">
        <pc:chgData name="Wang, Peili" userId="95f81b23-c812-470c-aca8-455e8f0787ab" providerId="ADAL" clId="{FEAAD0D7-929D-4285-A6A9-99D27BB35C2A}" dt="2025-05-09T20:50:53.592" v="262" actId="47"/>
        <pc:sldMkLst>
          <pc:docMk/>
          <pc:sldMk cId="3988037883" sldId="2141411684"/>
        </pc:sldMkLst>
      </pc:sldChg>
      <pc:sldChg chg="add del ord">
        <pc:chgData name="Wang, Peili" userId="95f81b23-c812-470c-aca8-455e8f0787ab" providerId="ADAL" clId="{FEAAD0D7-929D-4285-A6A9-99D27BB35C2A}" dt="2025-05-09T21:26:47.092" v="1426" actId="47"/>
        <pc:sldMkLst>
          <pc:docMk/>
          <pc:sldMk cId="1619385992" sldId="2141411687"/>
        </pc:sldMkLst>
      </pc:sldChg>
      <pc:sldChg chg="add del ord modNotesTx">
        <pc:chgData name="Wang, Peili" userId="95f81b23-c812-470c-aca8-455e8f0787ab" providerId="ADAL" clId="{FEAAD0D7-929D-4285-A6A9-99D27BB35C2A}" dt="2025-05-09T20:51:03.523" v="264"/>
        <pc:sldMkLst>
          <pc:docMk/>
          <pc:sldMk cId="1635432511" sldId="2141411688"/>
        </pc:sldMkLst>
      </pc:sldChg>
      <pc:sldChg chg="del">
        <pc:chgData name="Wang, Peili" userId="95f81b23-c812-470c-aca8-455e8f0787ab" providerId="ADAL" clId="{FEAAD0D7-929D-4285-A6A9-99D27BB35C2A}" dt="2025-05-09T20:50:52.104" v="261" actId="47"/>
        <pc:sldMkLst>
          <pc:docMk/>
          <pc:sldMk cId="864147804" sldId="2141411689"/>
        </pc:sldMkLst>
      </pc:sldChg>
      <pc:sldChg chg="del">
        <pc:chgData name="Wang, Peili" userId="95f81b23-c812-470c-aca8-455e8f0787ab" providerId="ADAL" clId="{FEAAD0D7-929D-4285-A6A9-99D27BB35C2A}" dt="2025-05-09T20:51:06.359" v="265" actId="47"/>
        <pc:sldMkLst>
          <pc:docMk/>
          <pc:sldMk cId="338016616" sldId="2141411690"/>
        </pc:sldMkLst>
      </pc:sldChg>
      <pc:sldChg chg="del">
        <pc:chgData name="Wang, Peili" userId="95f81b23-c812-470c-aca8-455e8f0787ab" providerId="ADAL" clId="{FEAAD0D7-929D-4285-A6A9-99D27BB35C2A}" dt="2025-05-09T20:50:43.565" v="260" actId="47"/>
        <pc:sldMkLst>
          <pc:docMk/>
          <pc:sldMk cId="921949941" sldId="2141411692"/>
        </pc:sldMkLst>
      </pc:sldChg>
      <pc:sldChg chg="modSp del mod modShow modNotesTx">
        <pc:chgData name="Wang, Peili" userId="95f81b23-c812-470c-aca8-455e8f0787ab" providerId="ADAL" clId="{FEAAD0D7-929D-4285-A6A9-99D27BB35C2A}" dt="2025-05-09T20:52:21.864" v="268" actId="47"/>
        <pc:sldMkLst>
          <pc:docMk/>
          <pc:sldMk cId="1877433798" sldId="2141411694"/>
        </pc:sldMkLst>
      </pc:sldChg>
      <pc:sldChg chg="addSp delSp modSp del mod">
        <pc:chgData name="Wang, Peili" userId="95f81b23-c812-470c-aca8-455e8f0787ab" providerId="ADAL" clId="{FEAAD0D7-929D-4285-A6A9-99D27BB35C2A}" dt="2025-05-09T21:25:17.702" v="1418" actId="47"/>
        <pc:sldMkLst>
          <pc:docMk/>
          <pc:sldMk cId="775637130" sldId="2141411695"/>
        </pc:sldMkLst>
      </pc:sldChg>
      <pc:sldChg chg="del">
        <pc:chgData name="Wang, Peili" userId="95f81b23-c812-470c-aca8-455e8f0787ab" providerId="ADAL" clId="{FEAAD0D7-929D-4285-A6A9-99D27BB35C2A}" dt="2025-05-09T20:51:10.819" v="266" actId="47"/>
        <pc:sldMkLst>
          <pc:docMk/>
          <pc:sldMk cId="3727796230" sldId="2141411696"/>
        </pc:sldMkLst>
      </pc:sldChg>
      <pc:sldChg chg="modSp mod modNotesTx">
        <pc:chgData name="Wang, Peili" userId="95f81b23-c812-470c-aca8-455e8f0787ab" providerId="ADAL" clId="{FEAAD0D7-929D-4285-A6A9-99D27BB35C2A}" dt="2025-05-10T00:14:17.335" v="2761" actId="20577"/>
        <pc:sldMkLst>
          <pc:docMk/>
          <pc:sldMk cId="3330329049" sldId="2141411697"/>
        </pc:sldMkLst>
        <pc:spChg chg="mod">
          <ac:chgData name="Wang, Peili" userId="95f81b23-c812-470c-aca8-455e8f0787ab" providerId="ADAL" clId="{FEAAD0D7-929D-4285-A6A9-99D27BB35C2A}" dt="2025-05-10T00:14:17.335" v="2761" actId="20577"/>
          <ac:spMkLst>
            <pc:docMk/>
            <pc:sldMk cId="3330329049" sldId="2141411697"/>
            <ac:spMk id="3" creationId="{5FD01B92-9C8F-C085-EEB2-BA204B45D355}"/>
          </ac:spMkLst>
        </pc:spChg>
      </pc:sldChg>
      <pc:sldChg chg="addSp delSp modSp mod modNotesTx">
        <pc:chgData name="Wang, Peili" userId="95f81b23-c812-470c-aca8-455e8f0787ab" providerId="ADAL" clId="{FEAAD0D7-929D-4285-A6A9-99D27BB35C2A}" dt="2025-05-10T00:07:15.837" v="2184" actId="14100"/>
        <pc:sldMkLst>
          <pc:docMk/>
          <pc:sldMk cId="3692508902" sldId="2141411699"/>
        </pc:sldMkLst>
      </pc:sldChg>
      <pc:sldChg chg="addSp delSp modSp del mod">
        <pc:chgData name="Wang, Peili" userId="95f81b23-c812-470c-aca8-455e8f0787ab" providerId="ADAL" clId="{FEAAD0D7-929D-4285-A6A9-99D27BB35C2A}" dt="2025-05-09T23:35:00.871" v="1742" actId="47"/>
        <pc:sldMkLst>
          <pc:docMk/>
          <pc:sldMk cId="2938049519" sldId="2141411700"/>
        </pc:sldMkLst>
      </pc:sldChg>
      <pc:sldChg chg="modSp mod">
        <pc:chgData name="Wang, Peili" userId="95f81b23-c812-470c-aca8-455e8f0787ab" providerId="ADAL" clId="{FEAAD0D7-929D-4285-A6A9-99D27BB35C2A}" dt="2025-05-10T00:12:59.055" v="2756" actId="20577"/>
        <pc:sldMkLst>
          <pc:docMk/>
          <pc:sldMk cId="231990289" sldId="2141411701"/>
        </pc:sldMkLst>
        <pc:spChg chg="mod">
          <ac:chgData name="Wang, Peili" userId="95f81b23-c812-470c-aca8-455e8f0787ab" providerId="ADAL" clId="{FEAAD0D7-929D-4285-A6A9-99D27BB35C2A}" dt="2025-05-09T23:37:47.914" v="1946" actId="20577"/>
          <ac:spMkLst>
            <pc:docMk/>
            <pc:sldMk cId="231990289" sldId="2141411701"/>
            <ac:spMk id="6" creationId="{415914C7-52A8-F373-7C6D-669BAF45C65E}"/>
          </ac:spMkLst>
        </pc:spChg>
        <pc:spChg chg="mod">
          <ac:chgData name="Wang, Peili" userId="95f81b23-c812-470c-aca8-455e8f0787ab" providerId="ADAL" clId="{FEAAD0D7-929D-4285-A6A9-99D27BB35C2A}" dt="2025-05-10T00:12:59.055" v="2756" actId="20577"/>
          <ac:spMkLst>
            <pc:docMk/>
            <pc:sldMk cId="231990289" sldId="2141411701"/>
            <ac:spMk id="7" creationId="{73CA1D66-77EC-490C-65F1-2712B8D86F0D}"/>
          </ac:spMkLst>
        </pc:spChg>
      </pc:sldChg>
      <pc:sldChg chg="modSp add mod modNotesTx">
        <pc:chgData name="Wang, Peili" userId="95f81b23-c812-470c-aca8-455e8f0787ab" providerId="ADAL" clId="{FEAAD0D7-929D-4285-A6A9-99D27BB35C2A}" dt="2025-05-09T23:56:35.214" v="2121" actId="20577"/>
        <pc:sldMkLst>
          <pc:docMk/>
          <pc:sldMk cId="2528523666" sldId="2141411702"/>
        </pc:sldMkLst>
        <pc:spChg chg="mod">
          <ac:chgData name="Wang, Peili" userId="95f81b23-c812-470c-aca8-455e8f0787ab" providerId="ADAL" clId="{FEAAD0D7-929D-4285-A6A9-99D27BB35C2A}" dt="2025-05-09T20:45:44.191" v="174"/>
          <ac:spMkLst>
            <pc:docMk/>
            <pc:sldMk cId="2528523666" sldId="2141411702"/>
            <ac:spMk id="4" creationId="{2CB691B9-6F26-3A25-6726-5649926B0F66}"/>
          </ac:spMkLst>
        </pc:spChg>
        <pc:graphicFrameChg chg="mod modGraphic">
          <ac:chgData name="Wang, Peili" userId="95f81b23-c812-470c-aca8-455e8f0787ab" providerId="ADAL" clId="{FEAAD0D7-929D-4285-A6A9-99D27BB35C2A}" dt="2025-05-09T23:56:35.214" v="2121" actId="20577"/>
          <ac:graphicFrameMkLst>
            <pc:docMk/>
            <pc:sldMk cId="2528523666" sldId="2141411702"/>
            <ac:graphicFrameMk id="5" creationId="{611B0220-7531-75BD-D2D0-A79C65E9C684}"/>
          </ac:graphicFrameMkLst>
        </pc:graphicFrameChg>
      </pc:sldChg>
      <pc:sldChg chg="addSp delSp modSp new del mod">
        <pc:chgData name="Wang, Peili" userId="95f81b23-c812-470c-aca8-455e8f0787ab" providerId="ADAL" clId="{FEAAD0D7-929D-4285-A6A9-99D27BB35C2A}" dt="2025-05-09T21:06:45.532" v="876" actId="47"/>
        <pc:sldMkLst>
          <pc:docMk/>
          <pc:sldMk cId="2592307264" sldId="2141411703"/>
        </pc:sldMkLst>
      </pc:sldChg>
      <pc:sldChg chg="addSp delSp modSp new del mod">
        <pc:chgData name="Wang, Peili" userId="95f81b23-c812-470c-aca8-455e8f0787ab" providerId="ADAL" clId="{FEAAD0D7-929D-4285-A6A9-99D27BB35C2A}" dt="2025-05-09T21:25:20.291" v="1419" actId="47"/>
        <pc:sldMkLst>
          <pc:docMk/>
          <pc:sldMk cId="3684964009" sldId="2141411703"/>
        </pc:sldMkLst>
      </pc:sldChg>
      <pc:sldChg chg="modSp add del">
        <pc:chgData name="Wang, Peili" userId="95f81b23-c812-470c-aca8-455e8f0787ab" providerId="ADAL" clId="{FEAAD0D7-929D-4285-A6A9-99D27BB35C2A}" dt="2025-05-09T21:13:02.653" v="1086"/>
        <pc:sldMkLst>
          <pc:docMk/>
          <pc:sldMk cId="2474203878" sldId="2141411704"/>
        </pc:sldMkLst>
      </pc:sldChg>
      <pc:sldChg chg="addSp delSp modSp new mod modNotesTx">
        <pc:chgData name="Wang, Peili" userId="95f81b23-c812-470c-aca8-455e8f0787ab" providerId="ADAL" clId="{FEAAD0D7-929D-4285-A6A9-99D27BB35C2A}" dt="2025-05-10T00:12:05.397" v="2699" actId="14100"/>
        <pc:sldMkLst>
          <pc:docMk/>
          <pc:sldMk cId="3156788896" sldId="2141411704"/>
        </pc:sldMkLst>
        <pc:spChg chg="mod">
          <ac:chgData name="Wang, Peili" userId="95f81b23-c812-470c-aca8-455e8f0787ab" providerId="ADAL" clId="{FEAAD0D7-929D-4285-A6A9-99D27BB35C2A}" dt="2025-05-09T21:25:14.775" v="1417"/>
          <ac:spMkLst>
            <pc:docMk/>
            <pc:sldMk cId="3156788896" sldId="2141411704"/>
            <ac:spMk id="2" creationId="{A7B09C61-C593-BFC7-F90D-D175EFFDA2E0}"/>
          </ac:spMkLst>
        </pc:spChg>
        <pc:spChg chg="add mod">
          <ac:chgData name="Wang, Peili" userId="95f81b23-c812-470c-aca8-455e8f0787ab" providerId="ADAL" clId="{FEAAD0D7-929D-4285-A6A9-99D27BB35C2A}" dt="2025-05-09T23:51:42.723" v="2072" actId="108"/>
          <ac:spMkLst>
            <pc:docMk/>
            <pc:sldMk cId="3156788896" sldId="2141411704"/>
            <ac:spMk id="8" creationId="{9E9F5423-B5E2-6821-CBAE-63A6957B1FED}"/>
          </ac:spMkLst>
        </pc:spChg>
        <pc:spChg chg="add mod">
          <ac:chgData name="Wang, Peili" userId="95f81b23-c812-470c-aca8-455e8f0787ab" providerId="ADAL" clId="{FEAAD0D7-929D-4285-A6A9-99D27BB35C2A}" dt="2025-05-09T21:22:44.369" v="1304" actId="1076"/>
          <ac:spMkLst>
            <pc:docMk/>
            <pc:sldMk cId="3156788896" sldId="2141411704"/>
            <ac:spMk id="11" creationId="{9DA040AC-532D-E6DB-0862-74AAB941CAA6}"/>
          </ac:spMkLst>
        </pc:spChg>
        <pc:spChg chg="add mod">
          <ac:chgData name="Wang, Peili" userId="95f81b23-c812-470c-aca8-455e8f0787ab" providerId="ADAL" clId="{FEAAD0D7-929D-4285-A6A9-99D27BB35C2A}" dt="2025-05-09T23:55:27.826" v="2115" actId="14100"/>
          <ac:spMkLst>
            <pc:docMk/>
            <pc:sldMk cId="3156788896" sldId="2141411704"/>
            <ac:spMk id="12" creationId="{44B1EC28-4730-23D0-45DD-3660B973A2A8}"/>
          </ac:spMkLst>
        </pc:spChg>
        <pc:spChg chg="add mod ord">
          <ac:chgData name="Wang, Peili" userId="95f81b23-c812-470c-aca8-455e8f0787ab" providerId="ADAL" clId="{FEAAD0D7-929D-4285-A6A9-99D27BB35C2A}" dt="2025-05-09T23:56:08.152" v="2119" actId="1076"/>
          <ac:spMkLst>
            <pc:docMk/>
            <pc:sldMk cId="3156788896" sldId="2141411704"/>
            <ac:spMk id="24" creationId="{A78F1C73-528E-D881-D238-9792C623428A}"/>
          </ac:spMkLst>
        </pc:spChg>
        <pc:spChg chg="add mod">
          <ac:chgData name="Wang, Peili" userId="95f81b23-c812-470c-aca8-455e8f0787ab" providerId="ADAL" clId="{FEAAD0D7-929D-4285-A6A9-99D27BB35C2A}" dt="2025-05-09T21:22:51.942" v="1306" actId="1076"/>
          <ac:spMkLst>
            <pc:docMk/>
            <pc:sldMk cId="3156788896" sldId="2141411704"/>
            <ac:spMk id="25" creationId="{9813C2B6-B2AC-8E0D-F01C-256048AEB7E1}"/>
          </ac:spMkLst>
        </pc:spChg>
        <pc:picChg chg="add mod">
          <ac:chgData name="Wang, Peili" userId="95f81b23-c812-470c-aca8-455e8f0787ab" providerId="ADAL" clId="{FEAAD0D7-929D-4285-A6A9-99D27BB35C2A}" dt="2025-05-09T21:22:41.589" v="1303" actId="1076"/>
          <ac:picMkLst>
            <pc:docMk/>
            <pc:sldMk cId="3156788896" sldId="2141411704"/>
            <ac:picMk id="9" creationId="{A0B7BBC5-2193-ACD0-BB41-F5AEB6069A43}"/>
          </ac:picMkLst>
        </pc:picChg>
      </pc:sldChg>
    </pc:docChg>
  </pc:docChgLst>
  <pc:docChgLst>
    <pc:chgData name="Wang, Peili" userId="S::wangp103@pfizer.com::95f81b23-c812-470c-aca8-455e8f0787ab" providerId="AD" clId="Web-{64F5EE65-8383-2C1C-58AF-60D5EB2C4073}"/>
    <pc:docChg chg="modSld">
      <pc:chgData name="Wang, Peili" userId="S::wangp103@pfizer.com::95f81b23-c812-470c-aca8-455e8f0787ab" providerId="AD" clId="Web-{64F5EE65-8383-2C1C-58AF-60D5EB2C4073}" dt="2025-05-22T21:59:24.097" v="3" actId="20577"/>
      <pc:docMkLst>
        <pc:docMk/>
      </pc:docMkLst>
      <pc:sldChg chg="modSp">
        <pc:chgData name="Wang, Peili" userId="S::wangp103@pfizer.com::95f81b23-c812-470c-aca8-455e8f0787ab" providerId="AD" clId="Web-{64F5EE65-8383-2C1C-58AF-60D5EB2C4073}" dt="2025-05-22T21:59:24.097" v="3" actId="20577"/>
        <pc:sldMkLst>
          <pc:docMk/>
          <pc:sldMk cId="4191911985" sldId="2141411722"/>
        </pc:sldMkLst>
        <pc:spChg chg="mod">
          <ac:chgData name="Wang, Peili" userId="S::wangp103@pfizer.com::95f81b23-c812-470c-aca8-455e8f0787ab" providerId="AD" clId="Web-{64F5EE65-8383-2C1C-58AF-60D5EB2C4073}" dt="2025-05-22T21:59:24.097" v="3" actId="20577"/>
          <ac:spMkLst>
            <pc:docMk/>
            <pc:sldMk cId="4191911985" sldId="2141411722"/>
            <ac:spMk id="3" creationId="{5D4F2A84-14B3-5837-2041-7A7D6D84FEE6}"/>
          </ac:spMkLst>
        </pc:spChg>
      </pc:sldChg>
    </pc:docChg>
  </pc:docChgLst>
  <pc:docChgLst>
    <pc:chgData name="Wang, Peili" userId="95f81b23-c812-470c-aca8-455e8f0787ab" providerId="ADAL" clId="{67607DB3-39CD-4473-85F1-0A2050DE1919}"/>
    <pc:docChg chg="modSld">
      <pc:chgData name="Wang, Peili" userId="95f81b23-c812-470c-aca8-455e8f0787ab" providerId="ADAL" clId="{67607DB3-39CD-4473-85F1-0A2050DE1919}" dt="2025-05-23T15:13:41.071" v="2" actId="20577"/>
      <pc:docMkLst>
        <pc:docMk/>
      </pc:docMkLst>
      <pc:sldChg chg="modSp mod">
        <pc:chgData name="Wang, Peili" userId="95f81b23-c812-470c-aca8-455e8f0787ab" providerId="ADAL" clId="{67607DB3-39CD-4473-85F1-0A2050DE1919}" dt="2025-05-23T15:13:41.071" v="2" actId="20577"/>
        <pc:sldMkLst>
          <pc:docMk/>
          <pc:sldMk cId="4191911985" sldId="2141411722"/>
        </pc:sldMkLst>
        <pc:spChg chg="mod">
          <ac:chgData name="Wang, Peili" userId="95f81b23-c812-470c-aca8-455e8f0787ab" providerId="ADAL" clId="{67607DB3-39CD-4473-85F1-0A2050DE1919}" dt="2025-05-23T15:13:41.071" v="2" actId="20577"/>
          <ac:spMkLst>
            <pc:docMk/>
            <pc:sldMk cId="4191911985" sldId="2141411722"/>
            <ac:spMk id="3" creationId="{5D4F2A84-14B3-5837-2041-7A7D6D84FEE6}"/>
          </ac:spMkLst>
        </pc:spChg>
      </pc:sldChg>
      <pc:sldChg chg="modSp mod">
        <pc:chgData name="Wang, Peili" userId="95f81b23-c812-470c-aca8-455e8f0787ab" providerId="ADAL" clId="{67607DB3-39CD-4473-85F1-0A2050DE1919}" dt="2025-05-23T15:13:19.769" v="0" actId="20577"/>
        <pc:sldMkLst>
          <pc:docMk/>
          <pc:sldMk cId="2561756632" sldId="2141411724"/>
        </pc:sldMkLst>
        <pc:spChg chg="mod">
          <ac:chgData name="Wang, Peili" userId="95f81b23-c812-470c-aca8-455e8f0787ab" providerId="ADAL" clId="{67607DB3-39CD-4473-85F1-0A2050DE1919}" dt="2025-05-23T15:13:19.769" v="0" actId="20577"/>
          <ac:spMkLst>
            <pc:docMk/>
            <pc:sldMk cId="2561756632" sldId="2141411724"/>
            <ac:spMk id="3" creationId="{7E402536-2D81-656B-6BF2-D30AF342965F}"/>
          </ac:spMkLst>
        </pc:spChg>
      </pc:sldChg>
    </pc:docChg>
  </pc:docChgLst>
  <pc:docChgLst>
    <pc:chgData name="Wang, Peili" userId="95f81b23-c812-470c-aca8-455e8f0787ab" providerId="ADAL" clId="{0464BB37-CCC0-4A2F-8312-060A176DB784}"/>
    <pc:docChg chg="undo custSel addSld delSld modSld modSection">
      <pc:chgData name="Wang, Peili" userId="95f81b23-c812-470c-aca8-455e8f0787ab" providerId="ADAL" clId="{0464BB37-CCC0-4A2F-8312-060A176DB784}" dt="2025-05-07T18:17:47.705" v="2453" actId="14100"/>
      <pc:docMkLst>
        <pc:docMk/>
      </pc:docMkLst>
      <pc:sldChg chg="add del">
        <pc:chgData name="Wang, Peili" userId="95f81b23-c812-470c-aca8-455e8f0787ab" providerId="ADAL" clId="{0464BB37-CCC0-4A2F-8312-060A176DB784}" dt="2025-05-07T17:06:49.632" v="2211" actId="47"/>
        <pc:sldMkLst>
          <pc:docMk/>
          <pc:sldMk cId="3539023228" sldId="263"/>
        </pc:sldMkLst>
      </pc:sldChg>
      <pc:sldChg chg="add del">
        <pc:chgData name="Wang, Peili" userId="95f81b23-c812-470c-aca8-455e8f0787ab" providerId="ADAL" clId="{0464BB37-CCC0-4A2F-8312-060A176DB784}" dt="2025-05-07T17:06:48.973" v="2210" actId="47"/>
        <pc:sldMkLst>
          <pc:docMk/>
          <pc:sldMk cId="3717598166" sldId="264"/>
        </pc:sldMkLst>
      </pc:sldChg>
      <pc:sldChg chg="modSp mod modNotesTx">
        <pc:chgData name="Wang, Peili" userId="95f81b23-c812-470c-aca8-455e8f0787ab" providerId="ADAL" clId="{0464BB37-CCC0-4A2F-8312-060A176DB784}" dt="2025-05-07T16:53:45.985" v="1765" actId="20577"/>
        <pc:sldMkLst>
          <pc:docMk/>
          <pc:sldMk cId="3957938303" sldId="2141411664"/>
        </pc:sldMkLst>
        <pc:spChg chg="mod">
          <ac:chgData name="Wang, Peili" userId="95f81b23-c812-470c-aca8-455e8f0787ab" providerId="ADAL" clId="{0464BB37-CCC0-4A2F-8312-060A176DB784}" dt="2025-05-07T16:53:45.985" v="1765" actId="20577"/>
          <ac:spMkLst>
            <pc:docMk/>
            <pc:sldMk cId="3957938303" sldId="2141411664"/>
            <ac:spMk id="10" creationId="{45ACA124-1645-86D9-9322-3BC88BE9424D}"/>
          </ac:spMkLst>
        </pc:spChg>
      </pc:sldChg>
      <pc:sldChg chg="addSp modSp mod modNotesTx">
        <pc:chgData name="Wang, Peili" userId="95f81b23-c812-470c-aca8-455e8f0787ab" providerId="ADAL" clId="{0464BB37-CCC0-4A2F-8312-060A176DB784}" dt="2025-05-07T18:15:26.037" v="2352" actId="20577"/>
        <pc:sldMkLst>
          <pc:docMk/>
          <pc:sldMk cId="1619385992" sldId="2141411687"/>
        </pc:sldMkLst>
      </pc:sldChg>
      <pc:sldChg chg="modSp modNotesTx">
        <pc:chgData name="Wang, Peili" userId="95f81b23-c812-470c-aca8-455e8f0787ab" providerId="ADAL" clId="{0464BB37-CCC0-4A2F-8312-060A176DB784}" dt="2025-05-07T18:13:53.222" v="2303" actId="20577"/>
        <pc:sldMkLst>
          <pc:docMk/>
          <pc:sldMk cId="1635432511" sldId="2141411688"/>
        </pc:sldMkLst>
      </pc:sldChg>
      <pc:sldChg chg="addSp modSp mod modNotesTx">
        <pc:chgData name="Wang, Peili" userId="95f81b23-c812-470c-aca8-455e8f0787ab" providerId="ADAL" clId="{0464BB37-CCC0-4A2F-8312-060A176DB784}" dt="2025-05-07T16:58:57.952" v="1861" actId="20577"/>
        <pc:sldMkLst>
          <pc:docMk/>
          <pc:sldMk cId="338016616" sldId="2141411690"/>
        </pc:sldMkLst>
      </pc:sldChg>
      <pc:sldChg chg="addSp delSp modSp new mod modClrScheme chgLayout modNotesTx">
        <pc:chgData name="Wang, Peili" userId="95f81b23-c812-470c-aca8-455e8f0787ab" providerId="ADAL" clId="{0464BB37-CCC0-4A2F-8312-060A176DB784}" dt="2025-05-07T16:42:43.072" v="1462" actId="1076"/>
        <pc:sldMkLst>
          <pc:docMk/>
          <pc:sldMk cId="2368462817" sldId="2141411691"/>
        </pc:sldMkLst>
      </pc:sldChg>
      <pc:sldChg chg="addSp delSp modSp new mod modNotesTx">
        <pc:chgData name="Wang, Peili" userId="95f81b23-c812-470c-aca8-455e8f0787ab" providerId="ADAL" clId="{0464BB37-CCC0-4A2F-8312-060A176DB784}" dt="2025-05-07T18:17:47.705" v="2453" actId="14100"/>
        <pc:sldMkLst>
          <pc:docMk/>
          <pc:sldMk cId="921949941" sldId="2141411692"/>
        </pc:sldMkLst>
      </pc:sldChg>
    </pc:docChg>
  </pc:docChgLst>
  <pc:docChgLst>
    <pc:chgData name="Wang, Peili" userId="95f81b23-c812-470c-aca8-455e8f0787ab" providerId="ADAL" clId="{40BCF839-F4F0-4CC7-A40D-EF82CE35E2B5}"/>
    <pc:docChg chg="undo custSel modSld">
      <pc:chgData name="Wang, Peili" userId="95f81b23-c812-470c-aca8-455e8f0787ab" providerId="ADAL" clId="{40BCF839-F4F0-4CC7-A40D-EF82CE35E2B5}" dt="2025-06-10T14:16:08.237" v="298"/>
      <pc:docMkLst>
        <pc:docMk/>
      </pc:docMkLst>
      <pc:sldChg chg="modSp mod">
        <pc:chgData name="Wang, Peili" userId="95f81b23-c812-470c-aca8-455e8f0787ab" providerId="ADAL" clId="{40BCF839-F4F0-4CC7-A40D-EF82CE35E2B5}" dt="2025-06-10T14:06:29.705" v="265" actId="20577"/>
        <pc:sldMkLst>
          <pc:docMk/>
          <pc:sldMk cId="3330329049" sldId="2141411697"/>
        </pc:sldMkLst>
        <pc:spChg chg="mod">
          <ac:chgData name="Wang, Peili" userId="95f81b23-c812-470c-aca8-455e8f0787ab" providerId="ADAL" clId="{40BCF839-F4F0-4CC7-A40D-EF82CE35E2B5}" dt="2025-06-10T14:06:29.705" v="265" actId="20577"/>
          <ac:spMkLst>
            <pc:docMk/>
            <pc:sldMk cId="3330329049" sldId="2141411697"/>
            <ac:spMk id="3" creationId="{5FD01B92-9C8F-C085-EEB2-BA204B45D355}"/>
          </ac:spMkLst>
        </pc:spChg>
      </pc:sldChg>
      <pc:sldChg chg="modSp mod">
        <pc:chgData name="Wang, Peili" userId="95f81b23-c812-470c-aca8-455e8f0787ab" providerId="ADAL" clId="{40BCF839-F4F0-4CC7-A40D-EF82CE35E2B5}" dt="2025-06-10T14:04:22.661" v="199" actId="1076"/>
        <pc:sldMkLst>
          <pc:docMk/>
          <pc:sldMk cId="231990289" sldId="2141411701"/>
        </pc:sldMkLst>
        <pc:spChg chg="mod">
          <ac:chgData name="Wang, Peili" userId="95f81b23-c812-470c-aca8-455e8f0787ab" providerId="ADAL" clId="{40BCF839-F4F0-4CC7-A40D-EF82CE35E2B5}" dt="2025-06-10T14:04:22.661" v="199" actId="1076"/>
          <ac:spMkLst>
            <pc:docMk/>
            <pc:sldMk cId="231990289" sldId="2141411701"/>
            <ac:spMk id="2" creationId="{AB26FF7D-F559-7F02-C9FE-076739B229E2}"/>
          </ac:spMkLst>
        </pc:spChg>
        <pc:spChg chg="mod">
          <ac:chgData name="Wang, Peili" userId="95f81b23-c812-470c-aca8-455e8f0787ab" providerId="ADAL" clId="{40BCF839-F4F0-4CC7-A40D-EF82CE35E2B5}" dt="2025-06-10T14:03:46.402" v="192" actId="20577"/>
          <ac:spMkLst>
            <pc:docMk/>
            <pc:sldMk cId="231990289" sldId="2141411701"/>
            <ac:spMk id="7" creationId="{73CA1D66-77EC-490C-65F1-2712B8D86F0D}"/>
          </ac:spMkLst>
        </pc:spChg>
      </pc:sldChg>
      <pc:sldChg chg="modSp">
        <pc:chgData name="Wang, Peili" userId="95f81b23-c812-470c-aca8-455e8f0787ab" providerId="ADAL" clId="{40BCF839-F4F0-4CC7-A40D-EF82CE35E2B5}" dt="2025-06-10T14:11:34.916" v="294"/>
        <pc:sldMkLst>
          <pc:docMk/>
          <pc:sldMk cId="2528523666" sldId="2141411702"/>
        </pc:sldMkLst>
        <pc:graphicFrameChg chg="mod">
          <ac:chgData name="Wang, Peili" userId="95f81b23-c812-470c-aca8-455e8f0787ab" providerId="ADAL" clId="{40BCF839-F4F0-4CC7-A40D-EF82CE35E2B5}" dt="2025-06-10T14:11:34.916" v="294"/>
          <ac:graphicFrameMkLst>
            <pc:docMk/>
            <pc:sldMk cId="2528523666" sldId="2141411702"/>
            <ac:graphicFrameMk id="5" creationId="{611B0220-7531-75BD-D2D0-A79C65E9C684}"/>
          </ac:graphicFrameMkLst>
        </pc:graphicFrameChg>
      </pc:sldChg>
      <pc:sldChg chg="modSp mod">
        <pc:chgData name="Wang, Peili" userId="95f81b23-c812-470c-aca8-455e8f0787ab" providerId="ADAL" clId="{40BCF839-F4F0-4CC7-A40D-EF82CE35E2B5}" dt="2025-06-10T14:11:49.975" v="295" actId="20577"/>
        <pc:sldMkLst>
          <pc:docMk/>
          <pc:sldMk cId="1003475791" sldId="2141411707"/>
        </pc:sldMkLst>
        <pc:spChg chg="mod">
          <ac:chgData name="Wang, Peili" userId="95f81b23-c812-470c-aca8-455e8f0787ab" providerId="ADAL" clId="{40BCF839-F4F0-4CC7-A40D-EF82CE35E2B5}" dt="2025-06-10T14:11:49.975" v="295" actId="20577"/>
          <ac:spMkLst>
            <pc:docMk/>
            <pc:sldMk cId="1003475791" sldId="2141411707"/>
            <ac:spMk id="6" creationId="{4CAF94C9-DC97-7B80-7EE5-08BCD9AC511D}"/>
          </ac:spMkLst>
        </pc:spChg>
        <pc:spChg chg="mod">
          <ac:chgData name="Wang, Peili" userId="95f81b23-c812-470c-aca8-455e8f0787ab" providerId="ADAL" clId="{40BCF839-F4F0-4CC7-A40D-EF82CE35E2B5}" dt="2025-06-10T14:08:25.138" v="282" actId="20577"/>
          <ac:spMkLst>
            <pc:docMk/>
            <pc:sldMk cId="1003475791" sldId="2141411707"/>
            <ac:spMk id="7" creationId="{154C7505-3130-CB4E-C82D-FCDA5A3E38A0}"/>
          </ac:spMkLst>
        </pc:spChg>
      </pc:sldChg>
      <pc:sldChg chg="modSp mod modAnim">
        <pc:chgData name="Wang, Peili" userId="95f81b23-c812-470c-aca8-455e8f0787ab" providerId="ADAL" clId="{40BCF839-F4F0-4CC7-A40D-EF82CE35E2B5}" dt="2025-06-10T14:16:08.237" v="298"/>
        <pc:sldMkLst>
          <pc:docMk/>
          <pc:sldMk cId="3713982638" sldId="2141411718"/>
        </pc:sldMkLst>
        <pc:spChg chg="mod">
          <ac:chgData name="Wang, Peili" userId="95f81b23-c812-470c-aca8-455e8f0787ab" providerId="ADAL" clId="{40BCF839-F4F0-4CC7-A40D-EF82CE35E2B5}" dt="2025-06-10T13:46:15.234" v="44" actId="20577"/>
          <ac:spMkLst>
            <pc:docMk/>
            <pc:sldMk cId="3713982638" sldId="2141411718"/>
            <ac:spMk id="16" creationId="{7F7055CC-AFCA-759A-E341-FC3D447C3804}"/>
          </ac:spMkLst>
        </pc:spChg>
        <pc:spChg chg="mod">
          <ac:chgData name="Wang, Peili" userId="95f81b23-c812-470c-aca8-455e8f0787ab" providerId="ADAL" clId="{40BCF839-F4F0-4CC7-A40D-EF82CE35E2B5}" dt="2025-06-10T13:56:23.034" v="191" actId="20577"/>
          <ac:spMkLst>
            <pc:docMk/>
            <pc:sldMk cId="3713982638" sldId="2141411718"/>
            <ac:spMk id="17" creationId="{051D5442-B266-E95E-1D81-E6DFB18ACF85}"/>
          </ac:spMkLst>
        </pc:spChg>
        <pc:spChg chg="mod">
          <ac:chgData name="Wang, Peili" userId="95f81b23-c812-470c-aca8-455e8f0787ab" providerId="ADAL" clId="{40BCF839-F4F0-4CC7-A40D-EF82CE35E2B5}" dt="2025-06-10T13:46:21.394" v="45" actId="20577"/>
          <ac:spMkLst>
            <pc:docMk/>
            <pc:sldMk cId="3713982638" sldId="2141411718"/>
            <ac:spMk id="18" creationId="{9FB26649-8935-4430-4F62-3C35F4353FF1}"/>
          </ac:spMkLst>
        </pc:spChg>
        <pc:spChg chg="mod">
          <ac:chgData name="Wang, Peili" userId="95f81b23-c812-470c-aca8-455e8f0787ab" providerId="ADAL" clId="{40BCF839-F4F0-4CC7-A40D-EF82CE35E2B5}" dt="2025-06-10T14:06:53.767" v="266" actId="20577"/>
          <ac:spMkLst>
            <pc:docMk/>
            <pc:sldMk cId="3713982638" sldId="2141411718"/>
            <ac:spMk id="25" creationId="{23A2B807-8B70-7FA0-E409-873B4D052E3B}"/>
          </ac:spMkLst>
        </pc:spChg>
      </pc:sldChg>
      <pc:sldChg chg="modSp mod">
        <pc:chgData name="Wang, Peili" userId="95f81b23-c812-470c-aca8-455e8f0787ab" providerId="ADAL" clId="{40BCF839-F4F0-4CC7-A40D-EF82CE35E2B5}" dt="2025-06-10T14:05:16.268" v="261" actId="20577"/>
        <pc:sldMkLst>
          <pc:docMk/>
          <pc:sldMk cId="4191911985" sldId="2141411722"/>
        </pc:sldMkLst>
        <pc:spChg chg="mod">
          <ac:chgData name="Wang, Peili" userId="95f81b23-c812-470c-aca8-455e8f0787ab" providerId="ADAL" clId="{40BCF839-F4F0-4CC7-A40D-EF82CE35E2B5}" dt="2025-06-10T14:05:16.268" v="261" actId="20577"/>
          <ac:spMkLst>
            <pc:docMk/>
            <pc:sldMk cId="4191911985" sldId="2141411722"/>
            <ac:spMk id="3" creationId="{5D4F2A84-14B3-5837-2041-7A7D6D84FEE6}"/>
          </ac:spMkLst>
        </pc:spChg>
      </pc:sldChg>
      <pc:sldChg chg="addSp modSp mod">
        <pc:chgData name="Wang, Peili" userId="95f81b23-c812-470c-aca8-455e8f0787ab" providerId="ADAL" clId="{40BCF839-F4F0-4CC7-A40D-EF82CE35E2B5}" dt="2025-06-10T14:14:06.626" v="297" actId="1076"/>
        <pc:sldMkLst>
          <pc:docMk/>
          <pc:sldMk cId="2561756632" sldId="2141411724"/>
        </pc:sldMkLst>
        <pc:spChg chg="add mod">
          <ac:chgData name="Wang, Peili" userId="95f81b23-c812-470c-aca8-455e8f0787ab" providerId="ADAL" clId="{40BCF839-F4F0-4CC7-A40D-EF82CE35E2B5}" dt="2025-06-10T14:14:06.626" v="297" actId="1076"/>
          <ac:spMkLst>
            <pc:docMk/>
            <pc:sldMk cId="2561756632" sldId="2141411724"/>
            <ac:spMk id="5" creationId="{E0706DA4-6234-CAE9-F351-8CC8314ED916}"/>
          </ac:spMkLst>
        </pc:spChg>
      </pc:sldChg>
    </pc:docChg>
  </pc:docChgLst>
  <pc:docChgLst>
    <pc:chgData name="Wang, Peili" userId="S::wangp103@pfizer.com::95f81b23-c812-470c-aca8-455e8f0787ab" providerId="AD" clId="Web-{EA53CD20-AA62-6E3E-3A0C-EE71E55F4150}"/>
    <pc:docChg chg="modSld">
      <pc:chgData name="Wang, Peili" userId="S::wangp103@pfizer.com::95f81b23-c812-470c-aca8-455e8f0787ab" providerId="AD" clId="Web-{EA53CD20-AA62-6E3E-3A0C-EE71E55F4150}" dt="2025-06-10T14:21:54.346" v="0" actId="1076"/>
      <pc:docMkLst>
        <pc:docMk/>
      </pc:docMkLst>
      <pc:sldChg chg="modSp">
        <pc:chgData name="Wang, Peili" userId="S::wangp103@pfizer.com::95f81b23-c812-470c-aca8-455e8f0787ab" providerId="AD" clId="Web-{EA53CD20-AA62-6E3E-3A0C-EE71E55F4150}" dt="2025-06-10T14:21:54.346" v="0" actId="1076"/>
        <pc:sldMkLst>
          <pc:docMk/>
          <pc:sldMk cId="3713982638" sldId="2141411718"/>
        </pc:sldMkLst>
        <pc:picChg chg="mod">
          <ac:chgData name="Wang, Peili" userId="S::wangp103@pfizer.com::95f81b23-c812-470c-aca8-455e8f0787ab" providerId="AD" clId="Web-{EA53CD20-AA62-6E3E-3A0C-EE71E55F4150}" dt="2025-06-10T14:21:54.346" v="0" actId="1076"/>
          <ac:picMkLst>
            <pc:docMk/>
            <pc:sldMk cId="3713982638" sldId="2141411718"/>
            <ac:picMk id="12" creationId="{C5D3BFBA-1B36-3EB1-A1A7-A11A49703AA3}"/>
          </ac:picMkLst>
        </pc:picChg>
      </pc:sldChg>
    </pc:docChg>
  </pc:docChgLst>
  <pc:docChgLst>
    <pc:chgData name="Wang, Peili" userId="95f81b23-c812-470c-aca8-455e8f0787ab" providerId="ADAL" clId="{2166B6DC-4E8B-4B23-9830-36FA887A5DED}"/>
    <pc:docChg chg="modSld">
      <pc:chgData name="Wang, Peili" userId="95f81b23-c812-470c-aca8-455e8f0787ab" providerId="ADAL" clId="{2166B6DC-4E8B-4B23-9830-36FA887A5DED}" dt="2025-06-04T19:17:26.679" v="19" actId="20577"/>
      <pc:docMkLst>
        <pc:docMk/>
      </pc:docMkLst>
      <pc:sldChg chg="modSp mod">
        <pc:chgData name="Wang, Peili" userId="95f81b23-c812-470c-aca8-455e8f0787ab" providerId="ADAL" clId="{2166B6DC-4E8B-4B23-9830-36FA887A5DED}" dt="2025-06-04T19:17:26.679" v="19" actId="20577"/>
        <pc:sldMkLst>
          <pc:docMk/>
          <pc:sldMk cId="4191911985" sldId="2141411722"/>
        </pc:sldMkLst>
        <pc:spChg chg="mod">
          <ac:chgData name="Wang, Peili" userId="95f81b23-c812-470c-aca8-455e8f0787ab" providerId="ADAL" clId="{2166B6DC-4E8B-4B23-9830-36FA887A5DED}" dt="2025-06-04T19:17:26.679" v="19" actId="20577"/>
          <ac:spMkLst>
            <pc:docMk/>
            <pc:sldMk cId="4191911985" sldId="2141411722"/>
            <ac:spMk id="3" creationId="{5D4F2A84-14B3-5837-2041-7A7D6D84FEE6}"/>
          </ac:spMkLst>
        </pc:spChg>
      </pc:sldChg>
    </pc:docChg>
  </pc:docChgLst>
  <pc:docChgLst>
    <pc:chgData name="Wang, Peili" userId="S::wangp103@pfizer.com::95f81b23-c812-470c-aca8-455e8f0787ab" providerId="AD" clId="Web-{1881DEBC-0F00-B671-3C69-E073CB53AEE3}"/>
    <pc:docChg chg="modSld">
      <pc:chgData name="Wang, Peili" userId="S::wangp103@pfizer.com::95f81b23-c812-470c-aca8-455e8f0787ab" providerId="AD" clId="Web-{1881DEBC-0F00-B671-3C69-E073CB53AEE3}" dt="2025-05-09T20:19:25.316" v="8"/>
      <pc:docMkLst>
        <pc:docMk/>
      </pc:docMkLst>
      <pc:sldChg chg="addSp delSp modSp">
        <pc:chgData name="Wang, Peili" userId="S::wangp103@pfizer.com::95f81b23-c812-470c-aca8-455e8f0787ab" providerId="AD" clId="Web-{1881DEBC-0F00-B671-3C69-E073CB53AEE3}" dt="2025-05-09T20:19:25.316" v="8"/>
        <pc:sldMkLst>
          <pc:docMk/>
          <pc:sldMk cId="3692508902" sldId="2141411699"/>
        </pc:sldMkLst>
      </pc:sldChg>
    </pc:docChg>
  </pc:docChgLst>
  <pc:docChgLst>
    <pc:chgData name="Wang, Peili" userId="95f81b23-c812-470c-aca8-455e8f0787ab" providerId="ADAL" clId="{17E26BB3-3684-46CD-A97D-A67CF9AC2F2C}"/>
    <pc:docChg chg="custSel modSld">
      <pc:chgData name="Wang, Peili" userId="95f81b23-c812-470c-aca8-455e8f0787ab" providerId="ADAL" clId="{17E26BB3-3684-46CD-A97D-A67CF9AC2F2C}" dt="2025-06-04T20:16:30.294" v="67" actId="20577"/>
      <pc:docMkLst>
        <pc:docMk/>
      </pc:docMkLst>
      <pc:sldChg chg="modSp mod">
        <pc:chgData name="Wang, Peili" userId="95f81b23-c812-470c-aca8-455e8f0787ab" providerId="ADAL" clId="{17E26BB3-3684-46CD-A97D-A67CF9AC2F2C}" dt="2025-06-04T20:16:30.294" v="67" actId="20577"/>
        <pc:sldMkLst>
          <pc:docMk/>
          <pc:sldMk cId="4191911985" sldId="2141411722"/>
        </pc:sldMkLst>
        <pc:spChg chg="mod">
          <ac:chgData name="Wang, Peili" userId="95f81b23-c812-470c-aca8-455e8f0787ab" providerId="ADAL" clId="{17E26BB3-3684-46CD-A97D-A67CF9AC2F2C}" dt="2025-06-04T20:16:30.294" v="67" actId="20577"/>
          <ac:spMkLst>
            <pc:docMk/>
            <pc:sldMk cId="4191911985" sldId="2141411722"/>
            <ac:spMk id="3" creationId="{5D4F2A84-14B3-5837-2041-7A7D6D84FEE6}"/>
          </ac:spMkLst>
        </pc:spChg>
      </pc:sldChg>
    </pc:docChg>
  </pc:docChgLst>
  <pc:docChgLst>
    <pc:chgData name="Wang, Peili" userId="95f81b23-c812-470c-aca8-455e8f0787ab" providerId="ADAL" clId="{17DC3BDB-5B7E-4985-BA5E-49056198B95B}"/>
    <pc:docChg chg="custSel modSld">
      <pc:chgData name="Wang, Peili" userId="95f81b23-c812-470c-aca8-455e8f0787ab" providerId="ADAL" clId="{17DC3BDB-5B7E-4985-BA5E-49056198B95B}" dt="2025-06-03T15:15:36.683" v="41" actId="20577"/>
      <pc:docMkLst>
        <pc:docMk/>
      </pc:docMkLst>
      <pc:sldChg chg="modNotesTx">
        <pc:chgData name="Wang, Peili" userId="95f81b23-c812-470c-aca8-455e8f0787ab" providerId="ADAL" clId="{17DC3BDB-5B7E-4985-BA5E-49056198B95B}" dt="2025-06-03T15:15:36.683" v="41" actId="20577"/>
        <pc:sldMkLst>
          <pc:docMk/>
          <pc:sldMk cId="4143396677" sldId="2141411709"/>
        </pc:sldMkLst>
      </pc:sldChg>
    </pc:docChg>
  </pc:docChgLst>
  <pc:docChgLst>
    <pc:chgData name="Wang, Peili" userId="S::wangp103@pfizer.com::95f81b23-c812-470c-aca8-455e8f0787ab" providerId="AD" clId="Web-{2CE183D6-6453-861B-4A17-1D527F1885C7}"/>
    <pc:docChg chg="modSld sldOrd">
      <pc:chgData name="Wang, Peili" userId="S::wangp103@pfizer.com::95f81b23-c812-470c-aca8-455e8f0787ab" providerId="AD" clId="Web-{2CE183D6-6453-861B-4A17-1D527F1885C7}" dt="2025-06-02T21:52:01.264" v="44" actId="20577"/>
      <pc:docMkLst>
        <pc:docMk/>
      </pc:docMkLst>
      <pc:sldChg chg="modNotes">
        <pc:chgData name="Wang, Peili" userId="S::wangp103@pfizer.com::95f81b23-c812-470c-aca8-455e8f0787ab" providerId="AD" clId="Web-{2CE183D6-6453-861B-4A17-1D527F1885C7}" dt="2025-06-02T21:29:03.344" v="11"/>
        <pc:sldMkLst>
          <pc:docMk/>
          <pc:sldMk cId="231990289" sldId="2141411701"/>
        </pc:sldMkLst>
      </pc:sldChg>
      <pc:sldChg chg="modSp ord">
        <pc:chgData name="Wang, Peili" userId="S::wangp103@pfizer.com::95f81b23-c812-470c-aca8-455e8f0787ab" providerId="AD" clId="Web-{2CE183D6-6453-861B-4A17-1D527F1885C7}" dt="2025-06-02T21:52:01.264" v="44" actId="20577"/>
        <pc:sldMkLst>
          <pc:docMk/>
          <pc:sldMk cId="1003475791" sldId="2141411707"/>
        </pc:sldMkLst>
        <pc:spChg chg="mod">
          <ac:chgData name="Wang, Peili" userId="S::wangp103@pfizer.com::95f81b23-c812-470c-aca8-455e8f0787ab" providerId="AD" clId="Web-{2CE183D6-6453-861B-4A17-1D527F1885C7}" dt="2025-06-02T21:52:01.264" v="44" actId="20577"/>
          <ac:spMkLst>
            <pc:docMk/>
            <pc:sldMk cId="1003475791" sldId="2141411707"/>
            <ac:spMk id="6" creationId="{4CAF94C9-DC97-7B80-7EE5-08BCD9AC511D}"/>
          </ac:spMkLst>
        </pc:spChg>
        <pc:spChg chg="mod">
          <ac:chgData name="Wang, Peili" userId="S::wangp103@pfizer.com::95f81b23-c812-470c-aca8-455e8f0787ab" providerId="AD" clId="Web-{2CE183D6-6453-861B-4A17-1D527F1885C7}" dt="2025-06-02T21:51:17.511" v="23" actId="20577"/>
          <ac:spMkLst>
            <pc:docMk/>
            <pc:sldMk cId="1003475791" sldId="2141411707"/>
            <ac:spMk id="7" creationId="{154C7505-3130-CB4E-C82D-FCDA5A3E38A0}"/>
          </ac:spMkLst>
        </pc:spChg>
      </pc:sldChg>
    </pc:docChg>
  </pc:docChgLst>
  <pc:docChgLst>
    <pc:chgData name="Wang, Peili" userId="S::wangp103@pfizer.com::95f81b23-c812-470c-aca8-455e8f0787ab" providerId="AD" clId="Web-{0DBF0AAE-A536-7E71-0FBC-4279FA6862CF}"/>
    <pc:docChg chg="modSld sldOrd">
      <pc:chgData name="Wang, Peili" userId="S::wangp103@pfizer.com::95f81b23-c812-470c-aca8-455e8f0787ab" providerId="AD" clId="Web-{0DBF0AAE-A536-7E71-0FBC-4279FA6862CF}" dt="2025-05-19T19:06:05.601" v="63" actId="1076"/>
      <pc:docMkLst>
        <pc:docMk/>
      </pc:docMkLst>
      <pc:sldChg chg="modSp ord">
        <pc:chgData name="Wang, Peili" userId="S::wangp103@pfizer.com::95f81b23-c812-470c-aca8-455e8f0787ab" providerId="AD" clId="Web-{0DBF0AAE-A536-7E71-0FBC-4279FA6862CF}" dt="2025-05-19T19:05:03.772" v="46" actId="1076"/>
        <pc:sldMkLst>
          <pc:docMk/>
          <pc:sldMk cId="3957938303" sldId="2141411664"/>
        </pc:sldMkLst>
        <pc:spChg chg="mod">
          <ac:chgData name="Wang, Peili" userId="S::wangp103@pfizer.com::95f81b23-c812-470c-aca8-455e8f0787ab" providerId="AD" clId="Web-{0DBF0AAE-A536-7E71-0FBC-4279FA6862CF}" dt="2025-05-19T19:05:03.772" v="46" actId="1076"/>
          <ac:spMkLst>
            <pc:docMk/>
            <pc:sldMk cId="3957938303" sldId="2141411664"/>
            <ac:spMk id="21" creationId="{E8364A93-4A01-2927-E9E8-E3CBF815F69F}"/>
          </ac:spMkLst>
        </pc:spChg>
      </pc:sldChg>
      <pc:sldChg chg="modSp">
        <pc:chgData name="Wang, Peili" userId="S::wangp103@pfizer.com::95f81b23-c812-470c-aca8-455e8f0787ab" providerId="AD" clId="Web-{0DBF0AAE-A536-7E71-0FBC-4279FA6862CF}" dt="2025-05-19T19:04:55.804" v="45" actId="20577"/>
        <pc:sldMkLst>
          <pc:docMk/>
          <pc:sldMk cId="3330329049" sldId="2141411697"/>
        </pc:sldMkLst>
        <pc:spChg chg="mod">
          <ac:chgData name="Wang, Peili" userId="S::wangp103@pfizer.com::95f81b23-c812-470c-aca8-455e8f0787ab" providerId="AD" clId="Web-{0DBF0AAE-A536-7E71-0FBC-4279FA6862CF}" dt="2025-05-19T19:04:55.804" v="45" actId="20577"/>
          <ac:spMkLst>
            <pc:docMk/>
            <pc:sldMk cId="3330329049" sldId="2141411697"/>
            <ac:spMk id="3" creationId="{5FD01B92-9C8F-C085-EEB2-BA204B45D355}"/>
          </ac:spMkLst>
        </pc:spChg>
      </pc:sldChg>
      <pc:sldChg chg="modSp">
        <pc:chgData name="Wang, Peili" userId="S::wangp103@pfizer.com::95f81b23-c812-470c-aca8-455e8f0787ab" providerId="AD" clId="Web-{0DBF0AAE-A536-7E71-0FBC-4279FA6862CF}" dt="2025-05-19T19:01:41.569" v="2"/>
        <pc:sldMkLst>
          <pc:docMk/>
          <pc:sldMk cId="1003475791" sldId="2141411707"/>
        </pc:sldMkLst>
        <pc:spChg chg="mod">
          <ac:chgData name="Wang, Peili" userId="S::wangp103@pfizer.com::95f81b23-c812-470c-aca8-455e8f0787ab" providerId="AD" clId="Web-{0DBF0AAE-A536-7E71-0FBC-4279FA6862CF}" dt="2025-05-19T19:01:30.756" v="0" actId="14100"/>
          <ac:spMkLst>
            <pc:docMk/>
            <pc:sldMk cId="1003475791" sldId="2141411707"/>
            <ac:spMk id="4" creationId="{47EB7C15-86AF-92A2-7C2A-AEE10E74E208}"/>
          </ac:spMkLst>
        </pc:spChg>
        <pc:spChg chg="mod">
          <ac:chgData name="Wang, Peili" userId="S::wangp103@pfizer.com::95f81b23-c812-470c-aca8-455e8f0787ab" providerId="AD" clId="Web-{0DBF0AAE-A536-7E71-0FBC-4279FA6862CF}" dt="2025-05-19T19:01:41.569" v="2"/>
          <ac:spMkLst>
            <pc:docMk/>
            <pc:sldMk cId="1003475791" sldId="2141411707"/>
            <ac:spMk id="8" creationId="{28463F43-0F1A-401B-FA89-C6A78DFB5E0A}"/>
          </ac:spMkLst>
        </pc:spChg>
      </pc:sldChg>
      <pc:sldChg chg="modSp">
        <pc:chgData name="Wang, Peili" userId="S::wangp103@pfizer.com::95f81b23-c812-470c-aca8-455e8f0787ab" providerId="AD" clId="Web-{0DBF0AAE-A536-7E71-0FBC-4279FA6862CF}" dt="2025-05-19T19:02:13.569" v="6" actId="1076"/>
        <pc:sldMkLst>
          <pc:docMk/>
          <pc:sldMk cId="3740605019" sldId="2141411710"/>
        </pc:sldMkLst>
        <pc:spChg chg="mod">
          <ac:chgData name="Wang, Peili" userId="S::wangp103@pfizer.com::95f81b23-c812-470c-aca8-455e8f0787ab" providerId="AD" clId="Web-{0DBF0AAE-A536-7E71-0FBC-4279FA6862CF}" dt="2025-05-19T19:02:13.569" v="6" actId="1076"/>
          <ac:spMkLst>
            <pc:docMk/>
            <pc:sldMk cId="3740605019" sldId="2141411710"/>
            <ac:spMk id="16" creationId="{22582D8F-07EC-E897-4338-867AFE147813}"/>
          </ac:spMkLst>
        </pc:spChg>
        <pc:spChg chg="mod">
          <ac:chgData name="Wang, Peili" userId="S::wangp103@pfizer.com::95f81b23-c812-470c-aca8-455e8f0787ab" providerId="AD" clId="Web-{0DBF0AAE-A536-7E71-0FBC-4279FA6862CF}" dt="2025-05-19T19:02:04.381" v="5" actId="20577"/>
          <ac:spMkLst>
            <pc:docMk/>
            <pc:sldMk cId="3740605019" sldId="2141411710"/>
            <ac:spMk id="20" creationId="{31FCAE69-51B2-F051-C101-478728756C75}"/>
          </ac:spMkLst>
        </pc:spChg>
      </pc:sldChg>
      <pc:sldChg chg="addSp modSp">
        <pc:chgData name="Wang, Peili" userId="S::wangp103@pfizer.com::95f81b23-c812-470c-aca8-455e8f0787ab" providerId="AD" clId="Web-{0DBF0AAE-A536-7E71-0FBC-4279FA6862CF}" dt="2025-05-19T19:06:05.601" v="63" actId="1076"/>
        <pc:sldMkLst>
          <pc:docMk/>
          <pc:sldMk cId="1502043866" sldId="2141411715"/>
        </pc:sldMkLst>
        <pc:spChg chg="add mod">
          <ac:chgData name="Wang, Peili" userId="S::wangp103@pfizer.com::95f81b23-c812-470c-aca8-455e8f0787ab" providerId="AD" clId="Web-{0DBF0AAE-A536-7E71-0FBC-4279FA6862CF}" dt="2025-05-19T19:05:47.804" v="56" actId="1076"/>
          <ac:spMkLst>
            <pc:docMk/>
            <pc:sldMk cId="1502043866" sldId="2141411715"/>
            <ac:spMk id="2" creationId="{E5276EE7-6BD0-FC10-5DC3-0452CEAA99A9}"/>
          </ac:spMkLst>
        </pc:spChg>
        <pc:spChg chg="mod">
          <ac:chgData name="Wang, Peili" userId="S::wangp103@pfizer.com::95f81b23-c812-470c-aca8-455e8f0787ab" providerId="AD" clId="Web-{0DBF0AAE-A536-7E71-0FBC-4279FA6862CF}" dt="2025-05-19T19:05:27.444" v="47" actId="1076"/>
          <ac:spMkLst>
            <pc:docMk/>
            <pc:sldMk cId="1502043866" sldId="2141411715"/>
            <ac:spMk id="5" creationId="{FBBD1278-DC74-BD9B-74F5-6A91597815F5}"/>
          </ac:spMkLst>
        </pc:spChg>
        <pc:spChg chg="mod">
          <ac:chgData name="Wang, Peili" userId="S::wangp103@pfizer.com::95f81b23-c812-470c-aca8-455e8f0787ab" providerId="AD" clId="Web-{0DBF0AAE-A536-7E71-0FBC-4279FA6862CF}" dt="2025-05-19T19:06:05.601" v="63" actId="1076"/>
          <ac:spMkLst>
            <pc:docMk/>
            <pc:sldMk cId="1502043866" sldId="2141411715"/>
            <ac:spMk id="22" creationId="{3EBCFD66-62EE-9A2B-2E7B-CC656F4C6A8E}"/>
          </ac:spMkLst>
        </pc:spChg>
      </pc:sldChg>
      <pc:sldChg chg="modSp">
        <pc:chgData name="Wang, Peili" userId="S::wangp103@pfizer.com::95f81b23-c812-470c-aca8-455e8f0787ab" providerId="AD" clId="Web-{0DBF0AAE-A536-7E71-0FBC-4279FA6862CF}" dt="2025-05-19T19:02:38.553" v="10" actId="1076"/>
        <pc:sldMkLst>
          <pc:docMk/>
          <pc:sldMk cId="3713982638" sldId="2141411718"/>
        </pc:sldMkLst>
        <pc:spChg chg="mod">
          <ac:chgData name="Wang, Peili" userId="S::wangp103@pfizer.com::95f81b23-c812-470c-aca8-455e8f0787ab" providerId="AD" clId="Web-{0DBF0AAE-A536-7E71-0FBC-4279FA6862CF}" dt="2025-05-19T19:02:38.553" v="10" actId="1076"/>
          <ac:spMkLst>
            <pc:docMk/>
            <pc:sldMk cId="3713982638" sldId="2141411718"/>
            <ac:spMk id="25" creationId="{23A2B807-8B70-7FA0-E409-873B4D052E3B}"/>
          </ac:spMkLst>
        </pc:spChg>
        <pc:picChg chg="mod">
          <ac:chgData name="Wang, Peili" userId="S::wangp103@pfizer.com::95f81b23-c812-470c-aca8-455e8f0787ab" providerId="AD" clId="Web-{0DBF0AAE-A536-7E71-0FBC-4279FA6862CF}" dt="2025-05-19T19:02:24.412" v="7" actId="1076"/>
          <ac:picMkLst>
            <pc:docMk/>
            <pc:sldMk cId="3713982638" sldId="2141411718"/>
            <ac:picMk id="6" creationId="{8C782A9C-3B78-833D-A6AF-D7B4152C28DA}"/>
          </ac:picMkLst>
        </pc:picChg>
      </pc:sldChg>
    </pc:docChg>
  </pc:docChgLst>
  <pc:docChgLst>
    <pc:chgData name="Wang, Peili" userId="95f81b23-c812-470c-aca8-455e8f0787ab" providerId="ADAL" clId="{DFE414BD-1699-4A10-8C1C-D8B1ED3C9EE1}"/>
    <pc:docChg chg="undo custSel modSld">
      <pc:chgData name="Wang, Peili" userId="95f81b23-c812-470c-aca8-455e8f0787ab" providerId="ADAL" clId="{DFE414BD-1699-4A10-8C1C-D8B1ED3C9EE1}" dt="2025-06-06T20:08:44.553" v="83" actId="27636"/>
      <pc:docMkLst>
        <pc:docMk/>
      </pc:docMkLst>
      <pc:sldChg chg="modNotesTx">
        <pc:chgData name="Wang, Peili" userId="95f81b23-c812-470c-aca8-455e8f0787ab" providerId="ADAL" clId="{DFE414BD-1699-4A10-8C1C-D8B1ED3C9EE1}" dt="2025-06-06T20:06:39.267" v="65" actId="6549"/>
        <pc:sldMkLst>
          <pc:docMk/>
          <pc:sldMk cId="3957938303" sldId="2141411664"/>
        </pc:sldMkLst>
      </pc:sldChg>
      <pc:sldChg chg="modNotesTx">
        <pc:chgData name="Wang, Peili" userId="95f81b23-c812-470c-aca8-455e8f0787ab" providerId="ADAL" clId="{DFE414BD-1699-4A10-8C1C-D8B1ED3C9EE1}" dt="2025-06-06T20:06:43.477" v="66" actId="6549"/>
        <pc:sldMkLst>
          <pc:docMk/>
          <pc:sldMk cId="3330329049" sldId="2141411697"/>
        </pc:sldMkLst>
      </pc:sldChg>
      <pc:sldChg chg="modNotesTx">
        <pc:chgData name="Wang, Peili" userId="95f81b23-c812-470c-aca8-455e8f0787ab" providerId="ADAL" clId="{DFE414BD-1699-4A10-8C1C-D8B1ED3C9EE1}" dt="2025-06-06T20:06:12.732" v="62" actId="20577"/>
        <pc:sldMkLst>
          <pc:docMk/>
          <pc:sldMk cId="231990289" sldId="2141411701"/>
        </pc:sldMkLst>
      </pc:sldChg>
      <pc:sldChg chg="modNotesTx">
        <pc:chgData name="Wang, Peili" userId="95f81b23-c812-470c-aca8-455e8f0787ab" providerId="ADAL" clId="{DFE414BD-1699-4A10-8C1C-D8B1ED3C9EE1}" dt="2025-06-06T20:07:57.043" v="69" actId="20577"/>
        <pc:sldMkLst>
          <pc:docMk/>
          <pc:sldMk cId="2528523666" sldId="2141411702"/>
        </pc:sldMkLst>
      </pc:sldChg>
      <pc:sldChg chg="modNotesTx">
        <pc:chgData name="Wang, Peili" userId="95f81b23-c812-470c-aca8-455e8f0787ab" providerId="ADAL" clId="{DFE414BD-1699-4A10-8C1C-D8B1ED3C9EE1}" dt="2025-06-06T20:08:01.191" v="70" actId="20577"/>
        <pc:sldMkLst>
          <pc:docMk/>
          <pc:sldMk cId="3156788896" sldId="2141411704"/>
        </pc:sldMkLst>
      </pc:sldChg>
      <pc:sldChg chg="modSp mod">
        <pc:chgData name="Wang, Peili" userId="95f81b23-c812-470c-aca8-455e8f0787ab" providerId="ADAL" clId="{DFE414BD-1699-4A10-8C1C-D8B1ED3C9EE1}" dt="2025-06-06T20:08:44.553" v="83" actId="27636"/>
        <pc:sldMkLst>
          <pc:docMk/>
          <pc:sldMk cId="1003475791" sldId="2141411707"/>
        </pc:sldMkLst>
        <pc:spChg chg="mod">
          <ac:chgData name="Wang, Peili" userId="95f81b23-c812-470c-aca8-455e8f0787ab" providerId="ADAL" clId="{DFE414BD-1699-4A10-8C1C-D8B1ED3C9EE1}" dt="2025-06-06T20:08:44.553" v="83" actId="27636"/>
          <ac:spMkLst>
            <pc:docMk/>
            <pc:sldMk cId="1003475791" sldId="2141411707"/>
            <ac:spMk id="6" creationId="{4CAF94C9-DC97-7B80-7EE5-08BCD9AC511D}"/>
          </ac:spMkLst>
        </pc:spChg>
        <pc:spChg chg="mod">
          <ac:chgData name="Wang, Peili" userId="95f81b23-c812-470c-aca8-455e8f0787ab" providerId="ADAL" clId="{DFE414BD-1699-4A10-8C1C-D8B1ED3C9EE1}" dt="2025-06-06T20:08:31.307" v="78" actId="27636"/>
          <ac:spMkLst>
            <pc:docMk/>
            <pc:sldMk cId="1003475791" sldId="2141411707"/>
            <ac:spMk id="7" creationId="{154C7505-3130-CB4E-C82D-FCDA5A3E38A0}"/>
          </ac:spMkLst>
        </pc:spChg>
      </pc:sldChg>
      <pc:sldChg chg="modNotesTx">
        <pc:chgData name="Wang, Peili" userId="95f81b23-c812-470c-aca8-455e8f0787ab" providerId="ADAL" clId="{DFE414BD-1699-4A10-8C1C-D8B1ED3C9EE1}" dt="2025-06-06T20:07:41.027" v="67" actId="6549"/>
        <pc:sldMkLst>
          <pc:docMk/>
          <pc:sldMk cId="4143396677" sldId="2141411709"/>
        </pc:sldMkLst>
      </pc:sldChg>
      <pc:sldChg chg="modNotesTx">
        <pc:chgData name="Wang, Peili" userId="95f81b23-c812-470c-aca8-455e8f0787ab" providerId="ADAL" clId="{DFE414BD-1699-4A10-8C1C-D8B1ED3C9EE1}" dt="2025-06-06T20:07:48.396" v="68" actId="20577"/>
        <pc:sldMkLst>
          <pc:docMk/>
          <pc:sldMk cId="1707480365" sldId="2141411714"/>
        </pc:sldMkLst>
      </pc:sldChg>
      <pc:sldChg chg="modNotesTx">
        <pc:chgData name="Wang, Peili" userId="95f81b23-c812-470c-aca8-455e8f0787ab" providerId="ADAL" clId="{DFE414BD-1699-4A10-8C1C-D8B1ED3C9EE1}" dt="2025-06-06T20:06:35.025" v="64" actId="6549"/>
        <pc:sldMkLst>
          <pc:docMk/>
          <pc:sldMk cId="1502043866" sldId="2141411715"/>
        </pc:sldMkLst>
      </pc:sldChg>
      <pc:sldChg chg="modSp mod">
        <pc:chgData name="Wang, Peili" userId="95f81b23-c812-470c-aca8-455e8f0787ab" providerId="ADAL" clId="{DFE414BD-1699-4A10-8C1C-D8B1ED3C9EE1}" dt="2025-06-06T20:04:08.053" v="61" actId="20577"/>
        <pc:sldMkLst>
          <pc:docMk/>
          <pc:sldMk cId="4191911985" sldId="2141411722"/>
        </pc:sldMkLst>
        <pc:spChg chg="mod">
          <ac:chgData name="Wang, Peili" userId="95f81b23-c812-470c-aca8-455e8f0787ab" providerId="ADAL" clId="{DFE414BD-1699-4A10-8C1C-D8B1ED3C9EE1}" dt="2025-06-06T20:04:08.053" v="61" actId="20577"/>
          <ac:spMkLst>
            <pc:docMk/>
            <pc:sldMk cId="4191911985" sldId="2141411722"/>
            <ac:spMk id="3" creationId="{5D4F2A84-14B3-5837-2041-7A7D6D84FEE6}"/>
          </ac:spMkLst>
        </pc:spChg>
      </pc:sldChg>
      <pc:sldChg chg="modNotesTx">
        <pc:chgData name="Wang, Peili" userId="95f81b23-c812-470c-aca8-455e8f0787ab" providerId="ADAL" clId="{DFE414BD-1699-4A10-8C1C-D8B1ED3C9EE1}" dt="2025-06-06T20:06:31.481" v="63" actId="6549"/>
        <pc:sldMkLst>
          <pc:docMk/>
          <pc:sldMk cId="2561756632" sldId="2141411724"/>
        </pc:sldMkLst>
      </pc:sldChg>
    </pc:docChg>
  </pc:docChgLst>
  <pc:docChgLst>
    <pc:chgData name="Wang, Peili" userId="95f81b23-c812-470c-aca8-455e8f0787ab" providerId="ADAL" clId="{BFBE1098-B1CF-4AEE-92D1-59B4646C9EFE}"/>
    <pc:docChg chg="undo custSel addSld delSld modSld modSection">
      <pc:chgData name="Wang, Peili" userId="95f81b23-c812-470c-aca8-455e8f0787ab" providerId="ADAL" clId="{BFBE1098-B1CF-4AEE-92D1-59B4646C9EFE}" dt="2025-05-19T20:19:25.834" v="261" actId="14100"/>
      <pc:docMkLst>
        <pc:docMk/>
      </pc:docMkLst>
      <pc:sldChg chg="del">
        <pc:chgData name="Wang, Peili" userId="95f81b23-c812-470c-aca8-455e8f0787ab" providerId="ADAL" clId="{BFBE1098-B1CF-4AEE-92D1-59B4646C9EFE}" dt="2025-05-19T20:11:21.212" v="252" actId="47"/>
        <pc:sldMkLst>
          <pc:docMk/>
          <pc:sldMk cId="1940392608" sldId="2141411682"/>
        </pc:sldMkLst>
      </pc:sldChg>
      <pc:sldChg chg="del">
        <pc:chgData name="Wang, Peili" userId="95f81b23-c812-470c-aca8-455e8f0787ab" providerId="ADAL" clId="{BFBE1098-B1CF-4AEE-92D1-59B4646C9EFE}" dt="2025-05-19T20:11:13.156" v="251" actId="47"/>
        <pc:sldMkLst>
          <pc:docMk/>
          <pc:sldMk cId="1635432511" sldId="2141411688"/>
        </pc:sldMkLst>
      </pc:sldChg>
      <pc:sldChg chg="del">
        <pc:chgData name="Wang, Peili" userId="95f81b23-c812-470c-aca8-455e8f0787ab" providerId="ADAL" clId="{BFBE1098-B1CF-4AEE-92D1-59B4646C9EFE}" dt="2025-05-19T20:11:11.099" v="250" actId="47"/>
        <pc:sldMkLst>
          <pc:docMk/>
          <pc:sldMk cId="3692508902" sldId="2141411699"/>
        </pc:sldMkLst>
      </pc:sldChg>
      <pc:sldChg chg="modSp mod">
        <pc:chgData name="Wang, Peili" userId="95f81b23-c812-470c-aca8-455e8f0787ab" providerId="ADAL" clId="{BFBE1098-B1CF-4AEE-92D1-59B4646C9EFE}" dt="2025-05-19T20:19:25.834" v="261" actId="14100"/>
        <pc:sldMkLst>
          <pc:docMk/>
          <pc:sldMk cId="231990289" sldId="2141411701"/>
        </pc:sldMkLst>
        <pc:spChg chg="mod">
          <ac:chgData name="Wang, Peili" userId="95f81b23-c812-470c-aca8-455e8f0787ab" providerId="ADAL" clId="{BFBE1098-B1CF-4AEE-92D1-59B4646C9EFE}" dt="2025-05-19T20:19:25.834" v="261" actId="14100"/>
          <ac:spMkLst>
            <pc:docMk/>
            <pc:sldMk cId="231990289" sldId="2141411701"/>
            <ac:spMk id="2" creationId="{AB26FF7D-F559-7F02-C9FE-076739B229E2}"/>
          </ac:spMkLst>
        </pc:spChg>
      </pc:sldChg>
      <pc:sldChg chg="del">
        <pc:chgData name="Wang, Peili" userId="95f81b23-c812-470c-aca8-455e8f0787ab" providerId="ADAL" clId="{BFBE1098-B1CF-4AEE-92D1-59B4646C9EFE}" dt="2025-05-19T20:11:29.088" v="253" actId="47"/>
        <pc:sldMkLst>
          <pc:docMk/>
          <pc:sldMk cId="2805659684" sldId="2141411706"/>
        </pc:sldMkLst>
      </pc:sldChg>
      <pc:sldChg chg="del">
        <pc:chgData name="Wang, Peili" userId="95f81b23-c812-470c-aca8-455e8f0787ab" providerId="ADAL" clId="{BFBE1098-B1CF-4AEE-92D1-59B4646C9EFE}" dt="2025-05-19T19:54:45.564" v="0" actId="47"/>
        <pc:sldMkLst>
          <pc:docMk/>
          <pc:sldMk cId="1784398975" sldId="2141411708"/>
        </pc:sldMkLst>
      </pc:sldChg>
      <pc:sldChg chg="addSp delSp modSp add del mod">
        <pc:chgData name="Wang, Peili" userId="95f81b23-c812-470c-aca8-455e8f0787ab" providerId="ADAL" clId="{BFBE1098-B1CF-4AEE-92D1-59B4646C9EFE}" dt="2025-05-19T20:10:02.636" v="248" actId="1076"/>
        <pc:sldMkLst>
          <pc:docMk/>
          <pc:sldMk cId="1502043866" sldId="2141411715"/>
        </pc:sldMkLst>
        <pc:spChg chg="mod">
          <ac:chgData name="Wang, Peili" userId="95f81b23-c812-470c-aca8-455e8f0787ab" providerId="ADAL" clId="{BFBE1098-B1CF-4AEE-92D1-59B4646C9EFE}" dt="2025-05-19T20:05:21.176" v="204" actId="1076"/>
          <ac:spMkLst>
            <pc:docMk/>
            <pc:sldMk cId="1502043866" sldId="2141411715"/>
            <ac:spMk id="2" creationId="{E5276EE7-6BD0-FC10-5DC3-0452CEAA99A9}"/>
          </ac:spMkLst>
        </pc:spChg>
        <pc:spChg chg="mod">
          <ac:chgData name="Wang, Peili" userId="95f81b23-c812-470c-aca8-455e8f0787ab" providerId="ADAL" clId="{BFBE1098-B1CF-4AEE-92D1-59B4646C9EFE}" dt="2025-05-19T20:05:35.966" v="208" actId="1076"/>
          <ac:spMkLst>
            <pc:docMk/>
            <pc:sldMk cId="1502043866" sldId="2141411715"/>
            <ac:spMk id="5" creationId="{FBBD1278-DC74-BD9B-74F5-6A91597815F5}"/>
          </ac:spMkLst>
        </pc:spChg>
        <pc:spChg chg="add mod">
          <ac:chgData name="Wang, Peili" userId="95f81b23-c812-470c-aca8-455e8f0787ab" providerId="ADAL" clId="{BFBE1098-B1CF-4AEE-92D1-59B4646C9EFE}" dt="2025-05-19T20:10:02.636" v="248" actId="1076"/>
          <ac:spMkLst>
            <pc:docMk/>
            <pc:sldMk cId="1502043866" sldId="2141411715"/>
            <ac:spMk id="7" creationId="{C144EB2B-4117-B14A-80B1-6A5A0989C9D3}"/>
          </ac:spMkLst>
        </pc:spChg>
        <pc:spChg chg="mod">
          <ac:chgData name="Wang, Peili" userId="95f81b23-c812-470c-aca8-455e8f0787ab" providerId="ADAL" clId="{BFBE1098-B1CF-4AEE-92D1-59B4646C9EFE}" dt="2025-05-19T20:05:31.276" v="207" actId="1076"/>
          <ac:spMkLst>
            <pc:docMk/>
            <pc:sldMk cId="1502043866" sldId="2141411715"/>
            <ac:spMk id="22" creationId="{3EBCFD66-62EE-9A2B-2E7B-CC656F4C6A8E}"/>
          </ac:spMkLst>
        </pc:spChg>
        <pc:spChg chg="mod">
          <ac:chgData name="Wang, Peili" userId="95f81b23-c812-470c-aca8-455e8f0787ab" providerId="ADAL" clId="{BFBE1098-B1CF-4AEE-92D1-59B4646C9EFE}" dt="2025-05-19T20:06:01.095" v="212" actId="14100"/>
          <ac:spMkLst>
            <pc:docMk/>
            <pc:sldMk cId="1502043866" sldId="2141411715"/>
            <ac:spMk id="32" creationId="{68B74010-7A9E-CB4D-CED8-6D671469E728}"/>
          </ac:spMkLst>
        </pc:spChg>
        <pc:spChg chg="mod">
          <ac:chgData name="Wang, Peili" userId="95f81b23-c812-470c-aca8-455e8f0787ab" providerId="ADAL" clId="{BFBE1098-B1CF-4AEE-92D1-59B4646C9EFE}" dt="2025-05-19T20:05:26.989" v="206" actId="1076"/>
          <ac:spMkLst>
            <pc:docMk/>
            <pc:sldMk cId="1502043866" sldId="2141411715"/>
            <ac:spMk id="41" creationId="{B182E5D3-93CA-053D-A1A2-AF6B0BFC7871}"/>
          </ac:spMkLst>
        </pc:spChg>
        <pc:picChg chg="mod">
          <ac:chgData name="Wang, Peili" userId="95f81b23-c812-470c-aca8-455e8f0787ab" providerId="ADAL" clId="{BFBE1098-B1CF-4AEE-92D1-59B4646C9EFE}" dt="2025-05-19T20:05:22.690" v="205" actId="1076"/>
          <ac:picMkLst>
            <pc:docMk/>
            <pc:sldMk cId="1502043866" sldId="2141411715"/>
            <ac:picMk id="20" creationId="{B154C430-CE23-5D59-3FC8-5F1A34A3555B}"/>
          </ac:picMkLst>
        </pc:picChg>
        <pc:picChg chg="mod">
          <ac:chgData name="Wang, Peili" userId="95f81b23-c812-470c-aca8-455e8f0787ab" providerId="ADAL" clId="{BFBE1098-B1CF-4AEE-92D1-59B4646C9EFE}" dt="2025-05-19T19:59:00.947" v="61" actId="1076"/>
          <ac:picMkLst>
            <pc:docMk/>
            <pc:sldMk cId="1502043866" sldId="2141411715"/>
            <ac:picMk id="29" creationId="{F2D45FAE-34F1-6CF8-64DD-5F1AA06AAD37}"/>
          </ac:picMkLst>
        </pc:picChg>
      </pc:sldChg>
      <pc:sldChg chg="del">
        <pc:chgData name="Wang, Peili" userId="95f81b23-c812-470c-aca8-455e8f0787ab" providerId="ADAL" clId="{BFBE1098-B1CF-4AEE-92D1-59B4646C9EFE}" dt="2025-05-19T20:11:05.869" v="249" actId="47"/>
        <pc:sldMkLst>
          <pc:docMk/>
          <pc:sldMk cId="342942210" sldId="2141411717"/>
        </pc:sldMkLst>
      </pc:sldChg>
      <pc:sldChg chg="addSp delSp modSp mod">
        <pc:chgData name="Wang, Peili" userId="95f81b23-c812-470c-aca8-455e8f0787ab" providerId="ADAL" clId="{BFBE1098-B1CF-4AEE-92D1-59B4646C9EFE}" dt="2025-05-19T20:15:54.708" v="260" actId="1076"/>
        <pc:sldMkLst>
          <pc:docMk/>
          <pc:sldMk cId="3713982638" sldId="2141411718"/>
        </pc:sldMkLst>
        <pc:spChg chg="mod">
          <ac:chgData name="Wang, Peili" userId="95f81b23-c812-470c-aca8-455e8f0787ab" providerId="ADAL" clId="{BFBE1098-B1CF-4AEE-92D1-59B4646C9EFE}" dt="2025-05-19T19:56:43.726" v="43" actId="20577"/>
          <ac:spMkLst>
            <pc:docMk/>
            <pc:sldMk cId="3713982638" sldId="2141411718"/>
            <ac:spMk id="16" creationId="{7F7055CC-AFCA-759A-E341-FC3D447C3804}"/>
          </ac:spMkLst>
        </pc:spChg>
        <pc:spChg chg="mod">
          <ac:chgData name="Wang, Peili" userId="95f81b23-c812-470c-aca8-455e8f0787ab" providerId="ADAL" clId="{BFBE1098-B1CF-4AEE-92D1-59B4646C9EFE}" dt="2025-05-19T19:56:40.465" v="42" actId="20577"/>
          <ac:spMkLst>
            <pc:docMk/>
            <pc:sldMk cId="3713982638" sldId="2141411718"/>
            <ac:spMk id="17" creationId="{051D5442-B266-E95E-1D81-E6DFB18ACF85}"/>
          </ac:spMkLst>
        </pc:spChg>
        <pc:spChg chg="mod">
          <ac:chgData name="Wang, Peili" userId="95f81b23-c812-470c-aca8-455e8f0787ab" providerId="ADAL" clId="{BFBE1098-B1CF-4AEE-92D1-59B4646C9EFE}" dt="2025-05-19T19:56:04.704" v="12" actId="20577"/>
          <ac:spMkLst>
            <pc:docMk/>
            <pc:sldMk cId="3713982638" sldId="2141411718"/>
            <ac:spMk id="18" creationId="{9FB26649-8935-4430-4F62-3C35F4353FF1}"/>
          </ac:spMkLst>
        </pc:spChg>
        <pc:picChg chg="add mod">
          <ac:chgData name="Wang, Peili" userId="95f81b23-c812-470c-aca8-455e8f0787ab" providerId="ADAL" clId="{BFBE1098-B1CF-4AEE-92D1-59B4646C9EFE}" dt="2025-05-19T20:15:54.708" v="260" actId="1076"/>
          <ac:picMkLst>
            <pc:docMk/>
            <pc:sldMk cId="3713982638" sldId="2141411718"/>
            <ac:picMk id="11" creationId="{DF3F2223-3729-5FCF-87A3-F31569BAF7B5}"/>
          </ac:picMkLst>
        </pc:picChg>
      </pc:sldChg>
      <pc:sldChg chg="addSp modSp del mod">
        <pc:chgData name="Wang, Peili" userId="95f81b23-c812-470c-aca8-455e8f0787ab" providerId="ADAL" clId="{BFBE1098-B1CF-4AEE-92D1-59B4646C9EFE}" dt="2025-05-19T20:05:06.868" v="202" actId="47"/>
        <pc:sldMkLst>
          <pc:docMk/>
          <pc:sldMk cId="3602452852" sldId="2141411719"/>
        </pc:sldMkLst>
      </pc:sldChg>
      <pc:sldChg chg="del">
        <pc:chgData name="Wang, Peili" userId="95f81b23-c812-470c-aca8-455e8f0787ab" providerId="ADAL" clId="{BFBE1098-B1CF-4AEE-92D1-59B4646C9EFE}" dt="2025-05-19T20:11:40.218" v="254" actId="47"/>
        <pc:sldMkLst>
          <pc:docMk/>
          <pc:sldMk cId="2413854141" sldId="2141411720"/>
        </pc:sldMkLst>
      </pc:sldChg>
      <pc:sldChg chg="del">
        <pc:chgData name="Wang, Peili" userId="95f81b23-c812-470c-aca8-455e8f0787ab" providerId="ADAL" clId="{BFBE1098-B1CF-4AEE-92D1-59B4646C9EFE}" dt="2025-05-19T20:11:43.098" v="255" actId="47"/>
        <pc:sldMkLst>
          <pc:docMk/>
          <pc:sldMk cId="1419919858" sldId="2141411721"/>
        </pc:sldMkLst>
      </pc:sldChg>
      <pc:sldChg chg="addSp delSp modSp add del mod">
        <pc:chgData name="Wang, Peili" userId="95f81b23-c812-470c-aca8-455e8f0787ab" providerId="ADAL" clId="{BFBE1098-B1CF-4AEE-92D1-59B4646C9EFE}" dt="2025-05-19T20:06:53.694" v="222" actId="47"/>
        <pc:sldMkLst>
          <pc:docMk/>
          <pc:sldMk cId="3680210563" sldId="2141411723"/>
        </pc:sldMkLst>
      </pc:sldChg>
      <pc:sldChg chg="addSp delSp modSp add mod">
        <pc:chgData name="Wang, Peili" userId="95f81b23-c812-470c-aca8-455e8f0787ab" providerId="ADAL" clId="{BFBE1098-B1CF-4AEE-92D1-59B4646C9EFE}" dt="2025-05-19T20:09:52.902" v="244" actId="1076"/>
        <pc:sldMkLst>
          <pc:docMk/>
          <pc:sldMk cId="2561756632" sldId="2141411724"/>
        </pc:sldMkLst>
        <pc:spChg chg="add mod">
          <ac:chgData name="Wang, Peili" userId="95f81b23-c812-470c-aca8-455e8f0787ab" providerId="ADAL" clId="{BFBE1098-B1CF-4AEE-92D1-59B4646C9EFE}" dt="2025-05-19T20:06:35.826" v="218"/>
          <ac:spMkLst>
            <pc:docMk/>
            <pc:sldMk cId="2561756632" sldId="2141411724"/>
            <ac:spMk id="3" creationId="{7E402536-2D81-656B-6BF2-D30AF342965F}"/>
          </ac:spMkLst>
        </pc:spChg>
        <pc:spChg chg="add mod">
          <ac:chgData name="Wang, Peili" userId="95f81b23-c812-470c-aca8-455e8f0787ab" providerId="ADAL" clId="{BFBE1098-B1CF-4AEE-92D1-59B4646C9EFE}" dt="2025-05-19T20:06:47.247" v="221"/>
          <ac:spMkLst>
            <pc:docMk/>
            <pc:sldMk cId="2561756632" sldId="2141411724"/>
            <ac:spMk id="7" creationId="{45B8ABCF-3792-628E-B77A-25CBC8CF10DD}"/>
          </ac:spMkLst>
        </pc:spChg>
        <pc:picChg chg="add mod">
          <ac:chgData name="Wang, Peili" userId="95f81b23-c812-470c-aca8-455e8f0787ab" providerId="ADAL" clId="{BFBE1098-B1CF-4AEE-92D1-59B4646C9EFE}" dt="2025-05-19T20:06:47.247" v="221"/>
          <ac:picMkLst>
            <pc:docMk/>
            <pc:sldMk cId="2561756632" sldId="2141411724"/>
            <ac:picMk id="4" creationId="{E9B15C49-C9A0-5E0F-C357-17D62EECCF0D}"/>
          </ac:picMkLst>
        </pc:picChg>
      </pc:sldChg>
      <pc:sldMasterChg chg="delSldLayout">
        <pc:chgData name="Wang, Peili" userId="95f81b23-c812-470c-aca8-455e8f0787ab" providerId="ADAL" clId="{BFBE1098-B1CF-4AEE-92D1-59B4646C9EFE}" dt="2025-05-19T20:11:21.212" v="252" actId="47"/>
        <pc:sldMasterMkLst>
          <pc:docMk/>
          <pc:sldMasterMk cId="3175229041" sldId="2147483660"/>
        </pc:sldMasterMkLst>
        <pc:sldLayoutChg chg="del">
          <pc:chgData name="Wang, Peili" userId="95f81b23-c812-470c-aca8-455e8f0787ab" providerId="ADAL" clId="{BFBE1098-B1CF-4AEE-92D1-59B4646C9EFE}" dt="2025-05-19T20:11:21.212" v="252" actId="47"/>
          <pc:sldLayoutMkLst>
            <pc:docMk/>
            <pc:sldMasterMk cId="3175229041" sldId="2147483660"/>
            <pc:sldLayoutMk cId="3609221883" sldId="2147483682"/>
          </pc:sldLayoutMkLst>
        </pc:sldLayoutChg>
      </pc:sldMasterChg>
    </pc:docChg>
  </pc:docChgLst>
  <pc:docChgLst>
    <pc:chgData name="Wang, Peili" userId="95f81b23-c812-470c-aca8-455e8f0787ab" providerId="ADAL" clId="{4939BFC8-A006-4B1B-A7C1-82792E694AD2}"/>
    <pc:docChg chg="undo custSel addSld delSld modSld">
      <pc:chgData name="Wang, Peili" userId="95f81b23-c812-470c-aca8-455e8f0787ab" providerId="ADAL" clId="{4939BFC8-A006-4B1B-A7C1-82792E694AD2}" dt="2025-04-29T17:54:31.511" v="2027" actId="20577"/>
      <pc:docMkLst>
        <pc:docMk/>
      </pc:docMkLst>
      <pc:sldChg chg="del">
        <pc:chgData name="Wang, Peili" userId="95f81b23-c812-470c-aca8-455e8f0787ab" providerId="ADAL" clId="{4939BFC8-A006-4B1B-A7C1-82792E694AD2}" dt="2025-04-29T17:25:14.296" v="711" actId="47"/>
        <pc:sldMkLst>
          <pc:docMk/>
          <pc:sldMk cId="804801226" sldId="257"/>
        </pc:sldMkLst>
      </pc:sldChg>
      <pc:sldChg chg="del">
        <pc:chgData name="Wang, Peili" userId="95f81b23-c812-470c-aca8-455e8f0787ab" providerId="ADAL" clId="{4939BFC8-A006-4B1B-A7C1-82792E694AD2}" dt="2025-04-29T17:25:15.206" v="712" actId="47"/>
        <pc:sldMkLst>
          <pc:docMk/>
          <pc:sldMk cId="1903349989" sldId="258"/>
        </pc:sldMkLst>
      </pc:sldChg>
      <pc:sldChg chg="del">
        <pc:chgData name="Wang, Peili" userId="95f81b23-c812-470c-aca8-455e8f0787ab" providerId="ADAL" clId="{4939BFC8-A006-4B1B-A7C1-82792E694AD2}" dt="2025-04-29T17:24:51.685" v="710" actId="47"/>
        <pc:sldMkLst>
          <pc:docMk/>
          <pc:sldMk cId="4245646044" sldId="1253"/>
        </pc:sldMkLst>
      </pc:sldChg>
      <pc:sldChg chg="modSp mod">
        <pc:chgData name="Wang, Peili" userId="95f81b23-c812-470c-aca8-455e8f0787ab" providerId="ADAL" clId="{4939BFC8-A006-4B1B-A7C1-82792E694AD2}" dt="2025-04-29T17:48:51.758" v="1693" actId="20577"/>
        <pc:sldMkLst>
          <pc:docMk/>
          <pc:sldMk cId="1474093788" sldId="2141411662"/>
        </pc:sldMkLst>
      </pc:sldChg>
      <pc:sldChg chg="modSp mod">
        <pc:chgData name="Wang, Peili" userId="95f81b23-c812-470c-aca8-455e8f0787ab" providerId="ADAL" clId="{4939BFC8-A006-4B1B-A7C1-82792E694AD2}" dt="2025-04-29T17:33:15.089" v="1174" actId="20577"/>
        <pc:sldMkLst>
          <pc:docMk/>
          <pc:sldMk cId="3957938303" sldId="2141411664"/>
        </pc:sldMkLst>
        <pc:spChg chg="mod">
          <ac:chgData name="Wang, Peili" userId="95f81b23-c812-470c-aca8-455e8f0787ab" providerId="ADAL" clId="{4939BFC8-A006-4B1B-A7C1-82792E694AD2}" dt="2025-04-29T17:33:15.089" v="1174" actId="20577"/>
          <ac:spMkLst>
            <pc:docMk/>
            <pc:sldMk cId="3957938303" sldId="2141411664"/>
            <ac:spMk id="10" creationId="{45ACA124-1645-86D9-9322-3BC88BE9424D}"/>
          </ac:spMkLst>
        </pc:spChg>
      </pc:sldChg>
      <pc:sldChg chg="delSp modSp del">
        <pc:chgData name="Wang, Peili" userId="95f81b23-c812-470c-aca8-455e8f0787ab" providerId="ADAL" clId="{4939BFC8-A006-4B1B-A7C1-82792E694AD2}" dt="2025-04-29T17:30:46.608" v="974" actId="47"/>
        <pc:sldMkLst>
          <pc:docMk/>
          <pc:sldMk cId="4020335415" sldId="2141411683"/>
        </pc:sldMkLst>
      </pc:sldChg>
      <pc:sldChg chg="delSp modSp mod">
        <pc:chgData name="Wang, Peili" userId="95f81b23-c812-470c-aca8-455e8f0787ab" providerId="ADAL" clId="{4939BFC8-A006-4B1B-A7C1-82792E694AD2}" dt="2025-04-29T17:39:31.253" v="1483" actId="20577"/>
        <pc:sldMkLst>
          <pc:docMk/>
          <pc:sldMk cId="3988037883" sldId="2141411684"/>
        </pc:sldMkLst>
      </pc:sldChg>
      <pc:sldChg chg="del">
        <pc:chgData name="Wang, Peili" userId="95f81b23-c812-470c-aca8-455e8f0787ab" providerId="ADAL" clId="{4939BFC8-A006-4B1B-A7C1-82792E694AD2}" dt="2025-04-29T17:04:50.495" v="120" actId="47"/>
        <pc:sldMkLst>
          <pc:docMk/>
          <pc:sldMk cId="1210281398" sldId="2141411685"/>
        </pc:sldMkLst>
      </pc:sldChg>
      <pc:sldChg chg="addSp modSp mod">
        <pc:chgData name="Wang, Peili" userId="95f81b23-c812-470c-aca8-455e8f0787ab" providerId="ADAL" clId="{4939BFC8-A006-4B1B-A7C1-82792E694AD2}" dt="2025-04-29T17:53:39.824" v="2024" actId="20577"/>
        <pc:sldMkLst>
          <pc:docMk/>
          <pc:sldMk cId="3128925283" sldId="2141411686"/>
        </pc:sldMkLst>
      </pc:sldChg>
      <pc:sldChg chg="addSp delSp modSp mod">
        <pc:chgData name="Wang, Peili" userId="95f81b23-c812-470c-aca8-455e8f0787ab" providerId="ADAL" clId="{4939BFC8-A006-4B1B-A7C1-82792E694AD2}" dt="2025-04-29T17:54:31.511" v="2027" actId="20577"/>
        <pc:sldMkLst>
          <pc:docMk/>
          <pc:sldMk cId="1619385992" sldId="2141411687"/>
        </pc:sldMkLst>
      </pc:sldChg>
      <pc:sldChg chg="delSp modSp mod">
        <pc:chgData name="Wang, Peili" userId="95f81b23-c812-470c-aca8-455e8f0787ab" providerId="ADAL" clId="{4939BFC8-A006-4B1B-A7C1-82792E694AD2}" dt="2025-04-29T17:47:28.892" v="1605" actId="20577"/>
        <pc:sldMkLst>
          <pc:docMk/>
          <pc:sldMk cId="1635432511" sldId="2141411688"/>
        </pc:sldMkLst>
      </pc:sldChg>
      <pc:sldChg chg="delSp modSp add mod">
        <pc:chgData name="Wang, Peili" userId="95f81b23-c812-470c-aca8-455e8f0787ab" providerId="ADAL" clId="{4939BFC8-A006-4B1B-A7C1-82792E694AD2}" dt="2025-04-29T17:24:18.969" v="709" actId="1076"/>
        <pc:sldMkLst>
          <pc:docMk/>
          <pc:sldMk cId="864147804" sldId="2141411689"/>
        </pc:sldMkLst>
      </pc:sldChg>
      <pc:sldChg chg="addSp delSp modSp new mod modClrScheme chgLayout">
        <pc:chgData name="Wang, Peili" userId="95f81b23-c812-470c-aca8-455e8f0787ab" providerId="ADAL" clId="{4939BFC8-A006-4B1B-A7C1-82792E694AD2}" dt="2025-04-29T17:51:27.608" v="1751" actId="1076"/>
        <pc:sldMkLst>
          <pc:docMk/>
          <pc:sldMk cId="338016616" sldId="2141411690"/>
        </pc:sldMkLst>
      </pc:sldChg>
    </pc:docChg>
  </pc:docChgLst>
  <pc:docChgLst>
    <pc:chgData name="Wang, Peili" userId="95f81b23-c812-470c-aca8-455e8f0787ab" providerId="ADAL" clId="{F8D6E937-F415-4995-9F57-3A105F07E69F}"/>
    <pc:docChg chg="undo custSel modSld">
      <pc:chgData name="Wang, Peili" userId="95f81b23-c812-470c-aca8-455e8f0787ab" providerId="ADAL" clId="{F8D6E937-F415-4995-9F57-3A105F07E69F}" dt="2025-05-19T19:19:31.092" v="233" actId="108"/>
      <pc:docMkLst>
        <pc:docMk/>
      </pc:docMkLst>
      <pc:sldChg chg="modSp mod">
        <pc:chgData name="Wang, Peili" userId="95f81b23-c812-470c-aca8-455e8f0787ab" providerId="ADAL" clId="{F8D6E937-F415-4995-9F57-3A105F07E69F}" dt="2025-05-19T17:57:50.017" v="99" actId="14100"/>
        <pc:sldMkLst>
          <pc:docMk/>
          <pc:sldMk cId="3957938303" sldId="2141411664"/>
        </pc:sldMkLst>
        <pc:spChg chg="mod">
          <ac:chgData name="Wang, Peili" userId="95f81b23-c812-470c-aca8-455e8f0787ab" providerId="ADAL" clId="{F8D6E937-F415-4995-9F57-3A105F07E69F}" dt="2025-05-19T17:57:50.017" v="99" actId="14100"/>
          <ac:spMkLst>
            <pc:docMk/>
            <pc:sldMk cId="3957938303" sldId="2141411664"/>
            <ac:spMk id="21" creationId="{E8364A93-4A01-2927-E9E8-E3CBF815F69F}"/>
          </ac:spMkLst>
        </pc:spChg>
      </pc:sldChg>
      <pc:sldChg chg="modSp mod">
        <pc:chgData name="Wang, Peili" userId="95f81b23-c812-470c-aca8-455e8f0787ab" providerId="ADAL" clId="{F8D6E937-F415-4995-9F57-3A105F07E69F}" dt="2025-05-19T19:16:39.073" v="227" actId="20577"/>
        <pc:sldMkLst>
          <pc:docMk/>
          <pc:sldMk cId="3330329049" sldId="2141411697"/>
        </pc:sldMkLst>
        <pc:spChg chg="mod">
          <ac:chgData name="Wang, Peili" userId="95f81b23-c812-470c-aca8-455e8f0787ab" providerId="ADAL" clId="{F8D6E937-F415-4995-9F57-3A105F07E69F}" dt="2025-05-19T19:16:39.073" v="227" actId="20577"/>
          <ac:spMkLst>
            <pc:docMk/>
            <pc:sldMk cId="3330329049" sldId="2141411697"/>
            <ac:spMk id="3" creationId="{5FD01B92-9C8F-C085-EEB2-BA204B45D355}"/>
          </ac:spMkLst>
        </pc:spChg>
      </pc:sldChg>
      <pc:sldChg chg="modSp mod">
        <pc:chgData name="Wang, Peili" userId="95f81b23-c812-470c-aca8-455e8f0787ab" providerId="ADAL" clId="{F8D6E937-F415-4995-9F57-3A105F07E69F}" dt="2025-05-19T19:18:07.113" v="230" actId="20577"/>
        <pc:sldMkLst>
          <pc:docMk/>
          <pc:sldMk cId="231990289" sldId="2141411701"/>
        </pc:sldMkLst>
        <pc:spChg chg="mod">
          <ac:chgData name="Wang, Peili" userId="95f81b23-c812-470c-aca8-455e8f0787ab" providerId="ADAL" clId="{F8D6E937-F415-4995-9F57-3A105F07E69F}" dt="2025-05-19T19:18:07.113" v="230" actId="20577"/>
          <ac:spMkLst>
            <pc:docMk/>
            <pc:sldMk cId="231990289" sldId="2141411701"/>
            <ac:spMk id="2" creationId="{AB26FF7D-F559-7F02-C9FE-076739B229E2}"/>
          </ac:spMkLst>
        </pc:spChg>
      </pc:sldChg>
      <pc:sldChg chg="modSp mod">
        <pc:chgData name="Wang, Peili" userId="95f81b23-c812-470c-aca8-455e8f0787ab" providerId="ADAL" clId="{F8D6E937-F415-4995-9F57-3A105F07E69F}" dt="2025-05-19T17:56:54.504" v="76" actId="20577"/>
        <pc:sldMkLst>
          <pc:docMk/>
          <pc:sldMk cId="3156788896" sldId="2141411704"/>
        </pc:sldMkLst>
        <pc:spChg chg="mod">
          <ac:chgData name="Wang, Peili" userId="95f81b23-c812-470c-aca8-455e8f0787ab" providerId="ADAL" clId="{F8D6E937-F415-4995-9F57-3A105F07E69F}" dt="2025-05-19T17:56:54.504" v="76" actId="20577"/>
          <ac:spMkLst>
            <pc:docMk/>
            <pc:sldMk cId="3156788896" sldId="2141411704"/>
            <ac:spMk id="25" creationId="{9813C2B6-B2AC-8E0D-F01C-256048AEB7E1}"/>
          </ac:spMkLst>
        </pc:spChg>
      </pc:sldChg>
      <pc:sldChg chg="addSp modSp mod">
        <pc:chgData name="Wang, Peili" userId="95f81b23-c812-470c-aca8-455e8f0787ab" providerId="ADAL" clId="{F8D6E937-F415-4995-9F57-3A105F07E69F}" dt="2025-05-19T19:08:05.197" v="139" actId="1076"/>
        <pc:sldMkLst>
          <pc:docMk/>
          <pc:sldMk cId="4143396677" sldId="2141411709"/>
        </pc:sldMkLst>
        <pc:spChg chg="mod">
          <ac:chgData name="Wang, Peili" userId="95f81b23-c812-470c-aca8-455e8f0787ab" providerId="ADAL" clId="{F8D6E937-F415-4995-9F57-3A105F07E69F}" dt="2025-05-19T19:07:49.911" v="134" actId="164"/>
          <ac:spMkLst>
            <pc:docMk/>
            <pc:sldMk cId="4143396677" sldId="2141411709"/>
            <ac:spMk id="6" creationId="{305AD2FA-5AD9-6119-EEA0-C22E4033FE6D}"/>
          </ac:spMkLst>
        </pc:spChg>
        <pc:spChg chg="mod">
          <ac:chgData name="Wang, Peili" userId="95f81b23-c812-470c-aca8-455e8f0787ab" providerId="ADAL" clId="{F8D6E937-F415-4995-9F57-3A105F07E69F}" dt="2025-05-19T19:08:05.197" v="139" actId="1076"/>
          <ac:spMkLst>
            <pc:docMk/>
            <pc:sldMk cId="4143396677" sldId="2141411709"/>
            <ac:spMk id="7" creationId="{528577F6-DD39-7484-F406-93804E54F036}"/>
          </ac:spMkLst>
        </pc:spChg>
        <pc:spChg chg="mod">
          <ac:chgData name="Wang, Peili" userId="95f81b23-c812-470c-aca8-455e8f0787ab" providerId="ADAL" clId="{F8D6E937-F415-4995-9F57-3A105F07E69F}" dt="2025-05-19T19:08:05.197" v="139" actId="1076"/>
          <ac:spMkLst>
            <pc:docMk/>
            <pc:sldMk cId="4143396677" sldId="2141411709"/>
            <ac:spMk id="279" creationId="{C47899B5-65B4-668B-35C0-77C47E984C6D}"/>
          </ac:spMkLst>
        </pc:spChg>
        <pc:spChg chg="mod">
          <ac:chgData name="Wang, Peili" userId="95f81b23-c812-470c-aca8-455e8f0787ab" providerId="ADAL" clId="{F8D6E937-F415-4995-9F57-3A105F07E69F}" dt="2025-05-19T19:08:05.197" v="139" actId="1076"/>
          <ac:spMkLst>
            <pc:docMk/>
            <pc:sldMk cId="4143396677" sldId="2141411709"/>
            <ac:spMk id="293" creationId="{1B190C7B-7492-658D-9B9A-2271713F4775}"/>
          </ac:spMkLst>
        </pc:spChg>
        <pc:spChg chg="mod">
          <ac:chgData name="Wang, Peili" userId="95f81b23-c812-470c-aca8-455e8f0787ab" providerId="ADAL" clId="{F8D6E937-F415-4995-9F57-3A105F07E69F}" dt="2025-05-19T19:08:05.197" v="139" actId="1076"/>
          <ac:spMkLst>
            <pc:docMk/>
            <pc:sldMk cId="4143396677" sldId="2141411709"/>
            <ac:spMk id="294" creationId="{B0B8F1BA-19C1-B592-8758-AAB2001057A3}"/>
          </ac:spMkLst>
        </pc:spChg>
        <pc:spChg chg="mod">
          <ac:chgData name="Wang, Peili" userId="95f81b23-c812-470c-aca8-455e8f0787ab" providerId="ADAL" clId="{F8D6E937-F415-4995-9F57-3A105F07E69F}" dt="2025-05-19T19:08:05.197" v="139" actId="1076"/>
          <ac:spMkLst>
            <pc:docMk/>
            <pc:sldMk cId="4143396677" sldId="2141411709"/>
            <ac:spMk id="295" creationId="{032BC1BE-4EF1-FBFD-3508-8A0979682A9D}"/>
          </ac:spMkLst>
        </pc:spChg>
        <pc:spChg chg="mod">
          <ac:chgData name="Wang, Peili" userId="95f81b23-c812-470c-aca8-455e8f0787ab" providerId="ADAL" clId="{F8D6E937-F415-4995-9F57-3A105F07E69F}" dt="2025-05-19T19:08:05.197" v="139" actId="1076"/>
          <ac:spMkLst>
            <pc:docMk/>
            <pc:sldMk cId="4143396677" sldId="2141411709"/>
            <ac:spMk id="296" creationId="{718A3275-4E75-A358-B188-50A246FDEE54}"/>
          </ac:spMkLst>
        </pc:spChg>
        <pc:spChg chg="mod">
          <ac:chgData name="Wang, Peili" userId="95f81b23-c812-470c-aca8-455e8f0787ab" providerId="ADAL" clId="{F8D6E937-F415-4995-9F57-3A105F07E69F}" dt="2025-05-19T19:08:05.197" v="139" actId="1076"/>
          <ac:spMkLst>
            <pc:docMk/>
            <pc:sldMk cId="4143396677" sldId="2141411709"/>
            <ac:spMk id="299" creationId="{FADA9E40-C589-5F9E-FE37-4FA55E5C2575}"/>
          </ac:spMkLst>
        </pc:spChg>
        <pc:grpChg chg="add mod">
          <ac:chgData name="Wang, Peili" userId="95f81b23-c812-470c-aca8-455e8f0787ab" providerId="ADAL" clId="{F8D6E937-F415-4995-9F57-3A105F07E69F}" dt="2025-05-19T19:07:52.776" v="135" actId="1076"/>
          <ac:grpSpMkLst>
            <pc:docMk/>
            <pc:sldMk cId="4143396677" sldId="2141411709"/>
            <ac:grpSpMk id="3" creationId="{19DA5BF1-62FC-38C7-5902-12F9BF6E0A1B}"/>
          </ac:grpSpMkLst>
        </pc:grpChg>
        <pc:grpChg chg="add mod">
          <ac:chgData name="Wang, Peili" userId="95f81b23-c812-470c-aca8-455e8f0787ab" providerId="ADAL" clId="{F8D6E937-F415-4995-9F57-3A105F07E69F}" dt="2025-05-19T19:08:01.381" v="138" actId="164"/>
          <ac:grpSpMkLst>
            <pc:docMk/>
            <pc:sldMk cId="4143396677" sldId="2141411709"/>
            <ac:grpSpMk id="4" creationId="{4F5DC901-BF50-528A-BA91-F50990DED683}"/>
          </ac:grpSpMkLst>
        </pc:grpChg>
        <pc:grpChg chg="mod">
          <ac:chgData name="Wang, Peili" userId="95f81b23-c812-470c-aca8-455e8f0787ab" providerId="ADAL" clId="{F8D6E937-F415-4995-9F57-3A105F07E69F}" dt="2025-05-19T19:07:49.911" v="134" actId="164"/>
          <ac:grpSpMkLst>
            <pc:docMk/>
            <pc:sldMk cId="4143396677" sldId="2141411709"/>
            <ac:grpSpMk id="143" creationId="{17F0772A-9D03-DB47-61EA-7936C5ABC164}"/>
          </ac:grpSpMkLst>
        </pc:grpChg>
        <pc:grpChg chg="mod">
          <ac:chgData name="Wang, Peili" userId="95f81b23-c812-470c-aca8-455e8f0787ab" providerId="ADAL" clId="{F8D6E937-F415-4995-9F57-3A105F07E69F}" dt="2025-05-19T19:08:01.381" v="138" actId="164"/>
          <ac:grpSpMkLst>
            <pc:docMk/>
            <pc:sldMk cId="4143396677" sldId="2141411709"/>
            <ac:grpSpMk id="287" creationId="{2097D80E-998D-C684-89BB-6095DC7B09EF}"/>
          </ac:grpSpMkLst>
        </pc:grpChg>
        <pc:picChg chg="mod">
          <ac:chgData name="Wang, Peili" userId="95f81b23-c812-470c-aca8-455e8f0787ab" providerId="ADAL" clId="{F8D6E937-F415-4995-9F57-3A105F07E69F}" dt="2025-05-19T19:08:01.381" v="138" actId="164"/>
          <ac:picMkLst>
            <pc:docMk/>
            <pc:sldMk cId="4143396677" sldId="2141411709"/>
            <ac:picMk id="281" creationId="{80E1E562-61D5-29C1-EE74-D95F0C9BF11D}"/>
          </ac:picMkLst>
        </pc:picChg>
        <pc:picChg chg="mod">
          <ac:chgData name="Wang, Peili" userId="95f81b23-c812-470c-aca8-455e8f0787ab" providerId="ADAL" clId="{F8D6E937-F415-4995-9F57-3A105F07E69F}" dt="2025-05-19T19:08:01.381" v="138" actId="164"/>
          <ac:picMkLst>
            <pc:docMk/>
            <pc:sldMk cId="4143396677" sldId="2141411709"/>
            <ac:picMk id="282" creationId="{97E737F3-EFDE-CB74-9ED9-83F5F2DC60BD}"/>
          </ac:picMkLst>
        </pc:picChg>
        <pc:picChg chg="mod">
          <ac:chgData name="Wang, Peili" userId="95f81b23-c812-470c-aca8-455e8f0787ab" providerId="ADAL" clId="{F8D6E937-F415-4995-9F57-3A105F07E69F}" dt="2025-05-19T19:08:01.381" v="138" actId="164"/>
          <ac:picMkLst>
            <pc:docMk/>
            <pc:sldMk cId="4143396677" sldId="2141411709"/>
            <ac:picMk id="285" creationId="{ADCFA474-F4F3-8A35-0DF7-3953181B3478}"/>
          </ac:picMkLst>
        </pc:picChg>
        <pc:picChg chg="mod">
          <ac:chgData name="Wang, Peili" userId="95f81b23-c812-470c-aca8-455e8f0787ab" providerId="ADAL" clId="{F8D6E937-F415-4995-9F57-3A105F07E69F}" dt="2025-05-19T19:08:05.197" v="139" actId="1076"/>
          <ac:picMkLst>
            <pc:docMk/>
            <pc:sldMk cId="4143396677" sldId="2141411709"/>
            <ac:picMk id="290" creationId="{7518C3B9-95BF-1335-6417-F1A2AFFF9A0A}"/>
          </ac:picMkLst>
        </pc:picChg>
        <pc:picChg chg="mod">
          <ac:chgData name="Wang, Peili" userId="95f81b23-c812-470c-aca8-455e8f0787ab" providerId="ADAL" clId="{F8D6E937-F415-4995-9F57-3A105F07E69F}" dt="2025-05-19T19:08:05.197" v="139" actId="1076"/>
          <ac:picMkLst>
            <pc:docMk/>
            <pc:sldMk cId="4143396677" sldId="2141411709"/>
            <ac:picMk id="300" creationId="{E30DD47F-0A90-AAB6-114E-6E0F72BD1DCA}"/>
          </ac:picMkLst>
        </pc:picChg>
        <pc:picChg chg="mod">
          <ac:chgData name="Wang, Peili" userId="95f81b23-c812-470c-aca8-455e8f0787ab" providerId="ADAL" clId="{F8D6E937-F415-4995-9F57-3A105F07E69F}" dt="2025-05-19T19:08:05.197" v="139" actId="1076"/>
          <ac:picMkLst>
            <pc:docMk/>
            <pc:sldMk cId="4143396677" sldId="2141411709"/>
            <ac:picMk id="302" creationId="{51E25CD3-A29A-FE0B-0E07-82820AB613C2}"/>
          </ac:picMkLst>
        </pc:picChg>
        <pc:cxnChg chg="mod">
          <ac:chgData name="Wang, Peili" userId="95f81b23-c812-470c-aca8-455e8f0787ab" providerId="ADAL" clId="{F8D6E937-F415-4995-9F57-3A105F07E69F}" dt="2025-05-19T19:08:01.381" v="138" actId="164"/>
          <ac:cxnSpMkLst>
            <pc:docMk/>
            <pc:sldMk cId="4143396677" sldId="2141411709"/>
            <ac:cxnSpMk id="313" creationId="{0B6FBA12-B7C3-9C9C-B521-AB3047C98622}"/>
          </ac:cxnSpMkLst>
        </pc:cxnChg>
        <pc:cxnChg chg="mod">
          <ac:chgData name="Wang, Peili" userId="95f81b23-c812-470c-aca8-455e8f0787ab" providerId="ADAL" clId="{F8D6E937-F415-4995-9F57-3A105F07E69F}" dt="2025-05-19T19:08:01.381" v="138" actId="164"/>
          <ac:cxnSpMkLst>
            <pc:docMk/>
            <pc:sldMk cId="4143396677" sldId="2141411709"/>
            <ac:cxnSpMk id="315" creationId="{04FA38D3-648A-95B8-9F8D-FE4DFDBF6174}"/>
          </ac:cxnSpMkLst>
        </pc:cxnChg>
        <pc:cxnChg chg="mod">
          <ac:chgData name="Wang, Peili" userId="95f81b23-c812-470c-aca8-455e8f0787ab" providerId="ADAL" clId="{F8D6E937-F415-4995-9F57-3A105F07E69F}" dt="2025-05-19T19:08:01.381" v="138" actId="164"/>
          <ac:cxnSpMkLst>
            <pc:docMk/>
            <pc:sldMk cId="4143396677" sldId="2141411709"/>
            <ac:cxnSpMk id="316" creationId="{7328AA09-2193-4B5A-7C27-011C5F08F572}"/>
          </ac:cxnSpMkLst>
        </pc:cxnChg>
        <pc:cxnChg chg="mod">
          <ac:chgData name="Wang, Peili" userId="95f81b23-c812-470c-aca8-455e8f0787ab" providerId="ADAL" clId="{F8D6E937-F415-4995-9F57-3A105F07E69F}" dt="2025-05-19T19:07:49.911" v="134" actId="164"/>
          <ac:cxnSpMkLst>
            <pc:docMk/>
            <pc:sldMk cId="4143396677" sldId="2141411709"/>
            <ac:cxnSpMk id="460" creationId="{C361C1C6-6672-A416-BDDA-DC5BEC2EE759}"/>
          </ac:cxnSpMkLst>
        </pc:cxnChg>
      </pc:sldChg>
      <pc:sldChg chg="modSp mod">
        <pc:chgData name="Wang, Peili" userId="95f81b23-c812-470c-aca8-455e8f0787ab" providerId="ADAL" clId="{F8D6E937-F415-4995-9F57-3A105F07E69F}" dt="2025-05-19T19:14:58.541" v="142" actId="20577"/>
        <pc:sldMkLst>
          <pc:docMk/>
          <pc:sldMk cId="3740605019" sldId="2141411710"/>
        </pc:sldMkLst>
        <pc:spChg chg="mod">
          <ac:chgData name="Wang, Peili" userId="95f81b23-c812-470c-aca8-455e8f0787ab" providerId="ADAL" clId="{F8D6E937-F415-4995-9F57-3A105F07E69F}" dt="2025-05-19T19:14:58.541" v="142" actId="20577"/>
          <ac:spMkLst>
            <pc:docMk/>
            <pc:sldMk cId="3740605019" sldId="2141411710"/>
            <ac:spMk id="20" creationId="{31FCAE69-51B2-F051-C101-478728756C75}"/>
          </ac:spMkLst>
        </pc:spChg>
      </pc:sldChg>
      <pc:sldChg chg="modSp mod">
        <pc:chgData name="Wang, Peili" userId="95f81b23-c812-470c-aca8-455e8f0787ab" providerId="ADAL" clId="{F8D6E937-F415-4995-9F57-3A105F07E69F}" dt="2025-05-19T19:08:21.962" v="140" actId="14100"/>
        <pc:sldMkLst>
          <pc:docMk/>
          <pc:sldMk cId="1707480365" sldId="2141411714"/>
        </pc:sldMkLst>
        <pc:spChg chg="mod">
          <ac:chgData name="Wang, Peili" userId="95f81b23-c812-470c-aca8-455e8f0787ab" providerId="ADAL" clId="{F8D6E937-F415-4995-9F57-3A105F07E69F}" dt="2025-05-19T19:08:21.962" v="140" actId="14100"/>
          <ac:spMkLst>
            <pc:docMk/>
            <pc:sldMk cId="1707480365" sldId="2141411714"/>
            <ac:spMk id="5" creationId="{217C4FE8-5D31-9559-DB05-E537A0A7A9E4}"/>
          </ac:spMkLst>
        </pc:spChg>
      </pc:sldChg>
      <pc:sldChg chg="modSp mod">
        <pc:chgData name="Wang, Peili" userId="95f81b23-c812-470c-aca8-455e8f0787ab" providerId="ADAL" clId="{F8D6E937-F415-4995-9F57-3A105F07E69F}" dt="2025-05-19T19:17:25.054" v="229" actId="1076"/>
        <pc:sldMkLst>
          <pc:docMk/>
          <pc:sldMk cId="1502043866" sldId="2141411715"/>
        </pc:sldMkLst>
        <pc:spChg chg="mod">
          <ac:chgData name="Wang, Peili" userId="95f81b23-c812-470c-aca8-455e8f0787ab" providerId="ADAL" clId="{F8D6E937-F415-4995-9F57-3A105F07E69F}" dt="2025-05-19T19:17:25.054" v="229" actId="1076"/>
          <ac:spMkLst>
            <pc:docMk/>
            <pc:sldMk cId="1502043866" sldId="2141411715"/>
            <ac:spMk id="32" creationId="{68B74010-7A9E-CB4D-CED8-6D671469E728}"/>
          </ac:spMkLst>
        </pc:spChg>
        <pc:grpChg chg="mod">
          <ac:chgData name="Wang, Peili" userId="95f81b23-c812-470c-aca8-455e8f0787ab" providerId="ADAL" clId="{F8D6E937-F415-4995-9F57-3A105F07E69F}" dt="2025-05-19T19:17:21.753" v="228" actId="14100"/>
          <ac:grpSpMkLst>
            <pc:docMk/>
            <pc:sldMk cId="1502043866" sldId="2141411715"/>
            <ac:grpSpMk id="9" creationId="{760E3291-8A36-D084-8C7F-465EC1096087}"/>
          </ac:grpSpMkLst>
        </pc:grpChg>
      </pc:sldChg>
      <pc:sldChg chg="modSp mod">
        <pc:chgData name="Wang, Peili" userId="95f81b23-c812-470c-aca8-455e8f0787ab" providerId="ADAL" clId="{F8D6E937-F415-4995-9F57-3A105F07E69F}" dt="2025-05-19T19:19:31.092" v="233" actId="108"/>
        <pc:sldMkLst>
          <pc:docMk/>
          <pc:sldMk cId="3164315827" sldId="2141411716"/>
        </pc:sldMkLst>
        <pc:spChg chg="mod">
          <ac:chgData name="Wang, Peili" userId="95f81b23-c812-470c-aca8-455e8f0787ab" providerId="ADAL" clId="{F8D6E937-F415-4995-9F57-3A105F07E69F}" dt="2025-05-19T19:19:31.092" v="233" actId="108"/>
          <ac:spMkLst>
            <pc:docMk/>
            <pc:sldMk cId="3164315827" sldId="2141411716"/>
            <ac:spMk id="3" creationId="{8D40DA9E-A5B8-6C1C-9C33-811119203282}"/>
          </ac:spMkLst>
        </pc:spChg>
      </pc:sldChg>
      <pc:sldChg chg="addSp delSp modSp mod">
        <pc:chgData name="Wang, Peili" userId="95f81b23-c812-470c-aca8-455e8f0787ab" providerId="ADAL" clId="{F8D6E937-F415-4995-9F57-3A105F07E69F}" dt="2025-05-19T19:15:27.051" v="171" actId="478"/>
        <pc:sldMkLst>
          <pc:docMk/>
          <pc:sldMk cId="3713982638" sldId="2141411718"/>
        </pc:sldMkLst>
        <pc:spChg chg="mod">
          <ac:chgData name="Wang, Peili" userId="95f81b23-c812-470c-aca8-455e8f0787ab" providerId="ADAL" clId="{F8D6E937-F415-4995-9F57-3A105F07E69F}" dt="2025-05-19T17:57:22.957" v="98" actId="20577"/>
          <ac:spMkLst>
            <pc:docMk/>
            <pc:sldMk cId="3713982638" sldId="2141411718"/>
            <ac:spMk id="25" creationId="{23A2B807-8B70-7FA0-E409-873B4D052E3B}"/>
          </ac:spMkLst>
        </pc:spChg>
      </pc:sldChg>
      <pc:sldChg chg="modSp mod">
        <pc:chgData name="Wang, Peili" userId="95f81b23-c812-470c-aca8-455e8f0787ab" providerId="ADAL" clId="{F8D6E937-F415-4995-9F57-3A105F07E69F}" dt="2025-05-19T19:18:48.057" v="232" actId="1076"/>
        <pc:sldMkLst>
          <pc:docMk/>
          <pc:sldMk cId="3602452852" sldId="2141411719"/>
        </pc:sldMkLst>
      </pc:sldChg>
      <pc:sldChg chg="modSp mod">
        <pc:chgData name="Wang, Peili" userId="95f81b23-c812-470c-aca8-455e8f0787ab" providerId="ADAL" clId="{F8D6E937-F415-4995-9F57-3A105F07E69F}" dt="2025-05-19T18:00:52.456" v="133" actId="20577"/>
        <pc:sldMkLst>
          <pc:docMk/>
          <pc:sldMk cId="4191911985" sldId="2141411722"/>
        </pc:sldMkLst>
        <pc:spChg chg="mod">
          <ac:chgData name="Wang, Peili" userId="95f81b23-c812-470c-aca8-455e8f0787ab" providerId="ADAL" clId="{F8D6E937-F415-4995-9F57-3A105F07E69F}" dt="2025-05-19T18:00:52.456" v="133" actId="20577"/>
          <ac:spMkLst>
            <pc:docMk/>
            <pc:sldMk cId="4191911985" sldId="2141411722"/>
            <ac:spMk id="3" creationId="{5D4F2A84-14B3-5837-2041-7A7D6D84FEE6}"/>
          </ac:spMkLst>
        </pc:spChg>
      </pc:sldChg>
    </pc:docChg>
  </pc:docChgLst>
  <pc:docChgLst>
    <pc:chgData name="Wang, Peili" userId="S::wangp103@pfizer.com::95f81b23-c812-470c-aca8-455e8f0787ab" providerId="AD" clId="Web-{CBC8517A-E52F-AE9C-F920-7BE7E30A7FDA}"/>
    <pc:docChg chg="modSld">
      <pc:chgData name="Wang, Peili" userId="S::wangp103@pfizer.com::95f81b23-c812-470c-aca8-455e8f0787ab" providerId="AD" clId="Web-{CBC8517A-E52F-AE9C-F920-7BE7E30A7FDA}" dt="2025-05-07T13:48:18.611" v="40" actId="20577"/>
      <pc:docMkLst>
        <pc:docMk/>
      </pc:docMkLst>
      <pc:sldChg chg="modSp">
        <pc:chgData name="Wang, Peili" userId="S::wangp103@pfizer.com::95f81b23-c812-470c-aca8-455e8f0787ab" providerId="AD" clId="Web-{CBC8517A-E52F-AE9C-F920-7BE7E30A7FDA}" dt="2025-05-07T13:47:25.142" v="33" actId="20577"/>
        <pc:sldMkLst>
          <pc:docMk/>
          <pc:sldMk cId="1474093788" sldId="2141411662"/>
        </pc:sldMkLst>
      </pc:sldChg>
      <pc:sldChg chg="modSp">
        <pc:chgData name="Wang, Peili" userId="S::wangp103@pfizer.com::95f81b23-c812-470c-aca8-455e8f0787ab" providerId="AD" clId="Web-{CBC8517A-E52F-AE9C-F920-7BE7E30A7FDA}" dt="2025-05-07T13:48:18.611" v="40" actId="20577"/>
        <pc:sldMkLst>
          <pc:docMk/>
          <pc:sldMk cId="3957938303" sldId="2141411664"/>
        </pc:sldMkLst>
        <pc:spChg chg="mod">
          <ac:chgData name="Wang, Peili" userId="S::wangp103@pfizer.com::95f81b23-c812-470c-aca8-455e8f0787ab" providerId="AD" clId="Web-{CBC8517A-E52F-AE9C-F920-7BE7E30A7FDA}" dt="2025-05-07T13:48:18.611" v="40" actId="20577"/>
          <ac:spMkLst>
            <pc:docMk/>
            <pc:sldMk cId="3957938303" sldId="2141411664"/>
            <ac:spMk id="10" creationId="{45ACA124-1645-86D9-9322-3BC88BE9424D}"/>
          </ac:spMkLst>
        </pc:spChg>
      </pc:sldChg>
    </pc:docChg>
  </pc:docChgLst>
  <pc:docChgLst>
    <pc:chgData name="Wang, Peili" userId="95f81b23-c812-470c-aca8-455e8f0787ab" providerId="ADAL" clId="{2E70586C-77FC-45E1-9EFC-9640D4DFB6AE}"/>
    <pc:docChg chg="undo custSel delSld modSld addSection modSection">
      <pc:chgData name="Wang, Peili" userId="95f81b23-c812-470c-aca8-455e8f0787ab" providerId="ADAL" clId="{2E70586C-77FC-45E1-9EFC-9640D4DFB6AE}" dt="2025-05-06T13:23:02.618" v="172" actId="20577"/>
      <pc:docMkLst>
        <pc:docMk/>
      </pc:docMkLst>
      <pc:sldChg chg="addSp delSp modSp mod">
        <pc:chgData name="Wang, Peili" userId="95f81b23-c812-470c-aca8-455e8f0787ab" providerId="ADAL" clId="{2E70586C-77FC-45E1-9EFC-9640D4DFB6AE}" dt="2025-05-06T13:09:40.825" v="27" actId="478"/>
        <pc:sldMkLst>
          <pc:docMk/>
          <pc:sldMk cId="1646108350" sldId="256"/>
        </pc:sldMkLst>
        <pc:spChg chg="add mod">
          <ac:chgData name="Wang, Peili" userId="95f81b23-c812-470c-aca8-455e8f0787ab" providerId="ADAL" clId="{2E70586C-77FC-45E1-9EFC-9640D4DFB6AE}" dt="2025-05-06T13:09:40.825" v="27" actId="478"/>
          <ac:spMkLst>
            <pc:docMk/>
            <pc:sldMk cId="1646108350" sldId="256"/>
            <ac:spMk id="3" creationId="{E1796B25-30E6-B34F-5D85-18062BF18782}"/>
          </ac:spMkLst>
        </pc:spChg>
      </pc:sldChg>
      <pc:sldChg chg="modNotesTx">
        <pc:chgData name="Wang, Peili" userId="95f81b23-c812-470c-aca8-455e8f0787ab" providerId="ADAL" clId="{2E70586C-77FC-45E1-9EFC-9640D4DFB6AE}" dt="2025-05-06T13:20:44.155" v="146" actId="20577"/>
        <pc:sldMkLst>
          <pc:docMk/>
          <pc:sldMk cId="1474093788" sldId="2141411662"/>
        </pc:sldMkLst>
      </pc:sldChg>
      <pc:sldChg chg="modSp mod">
        <pc:chgData name="Wang, Peili" userId="95f81b23-c812-470c-aca8-455e8f0787ab" providerId="ADAL" clId="{2E70586C-77FC-45E1-9EFC-9640D4DFB6AE}" dt="2025-05-06T13:23:02.618" v="172" actId="20577"/>
        <pc:sldMkLst>
          <pc:docMk/>
          <pc:sldMk cId="3957938303" sldId="2141411664"/>
        </pc:sldMkLst>
        <pc:spChg chg="mod">
          <ac:chgData name="Wang, Peili" userId="95f81b23-c812-470c-aca8-455e8f0787ab" providerId="ADAL" clId="{2E70586C-77FC-45E1-9EFC-9640D4DFB6AE}" dt="2025-05-06T13:23:02.618" v="172" actId="20577"/>
          <ac:spMkLst>
            <pc:docMk/>
            <pc:sldMk cId="3957938303" sldId="2141411664"/>
            <ac:spMk id="10" creationId="{45ACA124-1645-86D9-9322-3BC88BE9424D}"/>
          </ac:spMkLst>
        </pc:spChg>
      </pc:sldChg>
      <pc:sldChg chg="del">
        <pc:chgData name="Wang, Peili" userId="95f81b23-c812-470c-aca8-455e8f0787ab" providerId="ADAL" clId="{2E70586C-77FC-45E1-9EFC-9640D4DFB6AE}" dt="2025-05-06T13:19:58.503" v="37" actId="47"/>
        <pc:sldMkLst>
          <pc:docMk/>
          <pc:sldMk cId="3128925283" sldId="2141411686"/>
        </pc:sldMkLst>
      </pc:sldChg>
      <pc:sldChg chg="modSp mod">
        <pc:chgData name="Wang, Peili" userId="95f81b23-c812-470c-aca8-455e8f0787ab" providerId="ADAL" clId="{2E70586C-77FC-45E1-9EFC-9640D4DFB6AE}" dt="2025-05-06T13:22:08.773" v="170" actId="20577"/>
        <pc:sldMkLst>
          <pc:docMk/>
          <pc:sldMk cId="1619385992" sldId="2141411687"/>
        </pc:sldMkLst>
      </pc:sldChg>
      <pc:sldChg chg="modSp mod">
        <pc:chgData name="Wang, Peili" userId="95f81b23-c812-470c-aca8-455e8f0787ab" providerId="ADAL" clId="{2E70586C-77FC-45E1-9EFC-9640D4DFB6AE}" dt="2025-05-06T13:10:32.343" v="31" actId="108"/>
        <pc:sldMkLst>
          <pc:docMk/>
          <pc:sldMk cId="1635432511" sldId="2141411688"/>
        </pc:sldMkLst>
      </pc:sldChg>
      <pc:sldChg chg="addSp delSp modSp mod">
        <pc:chgData name="Wang, Peili" userId="95f81b23-c812-470c-aca8-455e8f0787ab" providerId="ADAL" clId="{2E70586C-77FC-45E1-9EFC-9640D4DFB6AE}" dt="2025-05-06T13:19:22.718" v="36" actId="1076"/>
        <pc:sldMkLst>
          <pc:docMk/>
          <pc:sldMk cId="338016616" sldId="2141411690"/>
        </pc:sldMkLst>
      </pc:sldChg>
    </pc:docChg>
  </pc:docChgLst>
  <pc:docChgLst>
    <pc:chgData name="Wang, Peili" userId="95f81b23-c812-470c-aca8-455e8f0787ab" providerId="ADAL" clId="{AEB4A0FA-7057-4877-A789-E0DA08C5A19A}"/>
    <pc:docChg chg="undo custSel addSld delSld modSld sldOrd modSection">
      <pc:chgData name="Wang, Peili" userId="95f81b23-c812-470c-aca8-455e8f0787ab" providerId="ADAL" clId="{AEB4A0FA-7057-4877-A789-E0DA08C5A19A}" dt="2025-05-13T17:58:59.334" v="2162" actId="47"/>
      <pc:docMkLst>
        <pc:docMk/>
      </pc:docMkLst>
      <pc:sldChg chg="modSp mod">
        <pc:chgData name="Wang, Peili" userId="95f81b23-c812-470c-aca8-455e8f0787ab" providerId="ADAL" clId="{AEB4A0FA-7057-4877-A789-E0DA08C5A19A}" dt="2025-05-13T16:55:06.981" v="867" actId="20577"/>
        <pc:sldMkLst>
          <pc:docMk/>
          <pc:sldMk cId="1474093788" sldId="2141411662"/>
        </pc:sldMkLst>
      </pc:sldChg>
      <pc:sldChg chg="addSp modSp mod modNotesTx">
        <pc:chgData name="Wang, Peili" userId="95f81b23-c812-470c-aca8-455e8f0787ab" providerId="ADAL" clId="{AEB4A0FA-7057-4877-A789-E0DA08C5A19A}" dt="2025-05-13T16:46:00.402" v="720" actId="1076"/>
        <pc:sldMkLst>
          <pc:docMk/>
          <pc:sldMk cId="3957938303" sldId="2141411664"/>
        </pc:sldMkLst>
        <pc:spChg chg="mod">
          <ac:chgData name="Wang, Peili" userId="95f81b23-c812-470c-aca8-455e8f0787ab" providerId="ADAL" clId="{AEB4A0FA-7057-4877-A789-E0DA08C5A19A}" dt="2025-05-12T13:20:24.074" v="93" actId="20577"/>
          <ac:spMkLst>
            <pc:docMk/>
            <pc:sldMk cId="3957938303" sldId="2141411664"/>
            <ac:spMk id="3" creationId="{F000BA6B-0FEA-DCDE-7B01-16275ABA79E9}"/>
          </ac:spMkLst>
        </pc:spChg>
        <pc:spChg chg="mod">
          <ac:chgData name="Wang, Peili" userId="95f81b23-c812-470c-aca8-455e8f0787ab" providerId="ADAL" clId="{AEB4A0FA-7057-4877-A789-E0DA08C5A19A}" dt="2025-05-13T16:40:18.152" v="700" actId="6549"/>
          <ac:spMkLst>
            <pc:docMk/>
            <pc:sldMk cId="3957938303" sldId="2141411664"/>
            <ac:spMk id="10" creationId="{45ACA124-1645-86D9-9322-3BC88BE9424D}"/>
          </ac:spMkLst>
        </pc:spChg>
        <pc:spChg chg="mod">
          <ac:chgData name="Wang, Peili" userId="95f81b23-c812-470c-aca8-455e8f0787ab" providerId="ADAL" clId="{AEB4A0FA-7057-4877-A789-E0DA08C5A19A}" dt="2025-05-12T13:40:41.748" v="133" actId="255"/>
          <ac:spMkLst>
            <pc:docMk/>
            <pc:sldMk cId="3957938303" sldId="2141411664"/>
            <ac:spMk id="21" creationId="{E8364A93-4A01-2927-E9E8-E3CBF815F69F}"/>
          </ac:spMkLst>
        </pc:spChg>
      </pc:sldChg>
      <pc:sldChg chg="addSp delSp modSp modNotesTx">
        <pc:chgData name="Wang, Peili" userId="95f81b23-c812-470c-aca8-455e8f0787ab" providerId="ADAL" clId="{AEB4A0FA-7057-4877-A789-E0DA08C5A19A}" dt="2025-05-13T17:28:09.848" v="1321" actId="20577"/>
        <pc:sldMkLst>
          <pc:docMk/>
          <pc:sldMk cId="2368462817" sldId="2141411691"/>
        </pc:sldMkLst>
      </pc:sldChg>
      <pc:sldChg chg="modSp mod">
        <pc:chgData name="Wang, Peili" userId="95f81b23-c812-470c-aca8-455e8f0787ab" providerId="ADAL" clId="{AEB4A0FA-7057-4877-A789-E0DA08C5A19A}" dt="2025-05-13T16:39:14.641" v="680" actId="113"/>
        <pc:sldMkLst>
          <pc:docMk/>
          <pc:sldMk cId="3330329049" sldId="2141411697"/>
        </pc:sldMkLst>
        <pc:spChg chg="mod">
          <ac:chgData name="Wang, Peili" userId="95f81b23-c812-470c-aca8-455e8f0787ab" providerId="ADAL" clId="{AEB4A0FA-7057-4877-A789-E0DA08C5A19A}" dt="2025-05-13T15:29:15.773" v="538" actId="20577"/>
          <ac:spMkLst>
            <pc:docMk/>
            <pc:sldMk cId="3330329049" sldId="2141411697"/>
            <ac:spMk id="2" creationId="{09C7A374-B047-BF52-DFEE-77024CF045AF}"/>
          </ac:spMkLst>
        </pc:spChg>
        <pc:spChg chg="mod">
          <ac:chgData name="Wang, Peili" userId="95f81b23-c812-470c-aca8-455e8f0787ab" providerId="ADAL" clId="{AEB4A0FA-7057-4877-A789-E0DA08C5A19A}" dt="2025-05-13T16:39:14.641" v="680" actId="113"/>
          <ac:spMkLst>
            <pc:docMk/>
            <pc:sldMk cId="3330329049" sldId="2141411697"/>
            <ac:spMk id="3" creationId="{5FD01B92-9C8F-C085-EEB2-BA204B45D355}"/>
          </ac:spMkLst>
        </pc:spChg>
      </pc:sldChg>
      <pc:sldChg chg="modSp mod ord modNotesTx">
        <pc:chgData name="Wang, Peili" userId="95f81b23-c812-470c-aca8-455e8f0787ab" providerId="ADAL" clId="{AEB4A0FA-7057-4877-A789-E0DA08C5A19A}" dt="2025-05-13T17:54:18.665" v="2132"/>
        <pc:sldMkLst>
          <pc:docMk/>
          <pc:sldMk cId="3692508902" sldId="2141411699"/>
        </pc:sldMkLst>
      </pc:sldChg>
      <pc:sldChg chg="modSp mod">
        <pc:chgData name="Wang, Peili" userId="95f81b23-c812-470c-aca8-455e8f0787ab" providerId="ADAL" clId="{AEB4A0FA-7057-4877-A789-E0DA08C5A19A}" dt="2025-05-13T13:33:17.053" v="257" actId="20577"/>
        <pc:sldMkLst>
          <pc:docMk/>
          <pc:sldMk cId="231990289" sldId="2141411701"/>
        </pc:sldMkLst>
        <pc:spChg chg="mod">
          <ac:chgData name="Wang, Peili" userId="95f81b23-c812-470c-aca8-455e8f0787ab" providerId="ADAL" clId="{AEB4A0FA-7057-4877-A789-E0DA08C5A19A}" dt="2025-05-13T13:33:17.053" v="257" actId="20577"/>
          <ac:spMkLst>
            <pc:docMk/>
            <pc:sldMk cId="231990289" sldId="2141411701"/>
            <ac:spMk id="7" creationId="{73CA1D66-77EC-490C-65F1-2712B8D86F0D}"/>
          </ac:spMkLst>
        </pc:spChg>
      </pc:sldChg>
      <pc:sldChg chg="modSp mod modNotesTx">
        <pc:chgData name="Wang, Peili" userId="95f81b23-c812-470c-aca8-455e8f0787ab" providerId="ADAL" clId="{AEB4A0FA-7057-4877-A789-E0DA08C5A19A}" dt="2025-05-13T17:16:43.032" v="1177" actId="20577"/>
        <pc:sldMkLst>
          <pc:docMk/>
          <pc:sldMk cId="2528523666" sldId="2141411702"/>
        </pc:sldMkLst>
        <pc:spChg chg="mod">
          <ac:chgData name="Wang, Peili" userId="95f81b23-c812-470c-aca8-455e8f0787ab" providerId="ADAL" clId="{AEB4A0FA-7057-4877-A789-E0DA08C5A19A}" dt="2025-05-13T17:16:43.032" v="1177" actId="20577"/>
          <ac:spMkLst>
            <pc:docMk/>
            <pc:sldMk cId="2528523666" sldId="2141411702"/>
            <ac:spMk id="4" creationId="{2CB691B9-6F26-3A25-6726-5649926B0F66}"/>
          </ac:spMkLst>
        </pc:spChg>
        <pc:graphicFrameChg chg="mod">
          <ac:chgData name="Wang, Peili" userId="95f81b23-c812-470c-aca8-455e8f0787ab" providerId="ADAL" clId="{AEB4A0FA-7057-4877-A789-E0DA08C5A19A}" dt="2025-05-13T17:14:58.171" v="1108" actId="20577"/>
          <ac:graphicFrameMkLst>
            <pc:docMk/>
            <pc:sldMk cId="2528523666" sldId="2141411702"/>
            <ac:graphicFrameMk id="5" creationId="{611B0220-7531-75BD-D2D0-A79C65E9C684}"/>
          </ac:graphicFrameMkLst>
        </pc:graphicFrameChg>
      </pc:sldChg>
      <pc:sldChg chg="addSp delSp modSp mod modNotesTx">
        <pc:chgData name="Wang, Peili" userId="95f81b23-c812-470c-aca8-455e8f0787ab" providerId="ADAL" clId="{AEB4A0FA-7057-4877-A789-E0DA08C5A19A}" dt="2025-05-13T17:29:33.325" v="1332" actId="1076"/>
        <pc:sldMkLst>
          <pc:docMk/>
          <pc:sldMk cId="3156788896" sldId="2141411704"/>
        </pc:sldMkLst>
        <pc:spChg chg="mod">
          <ac:chgData name="Wang, Peili" userId="95f81b23-c812-470c-aca8-455e8f0787ab" providerId="ADAL" clId="{AEB4A0FA-7057-4877-A789-E0DA08C5A19A}" dt="2025-05-13T17:26:16.170" v="1255" actId="20577"/>
          <ac:spMkLst>
            <pc:docMk/>
            <pc:sldMk cId="3156788896" sldId="2141411704"/>
            <ac:spMk id="2" creationId="{A7B09C61-C593-BFC7-F90D-D175EFFDA2E0}"/>
          </ac:spMkLst>
        </pc:spChg>
        <pc:spChg chg="mod">
          <ac:chgData name="Wang, Peili" userId="95f81b23-c812-470c-aca8-455e8f0787ab" providerId="ADAL" clId="{AEB4A0FA-7057-4877-A789-E0DA08C5A19A}" dt="2025-05-13T14:54:42.166" v="343" actId="20577"/>
          <ac:spMkLst>
            <pc:docMk/>
            <pc:sldMk cId="3156788896" sldId="2141411704"/>
            <ac:spMk id="8" creationId="{9E9F5423-B5E2-6821-CBAE-63A6957B1FED}"/>
          </ac:spMkLst>
        </pc:spChg>
        <pc:spChg chg="mod">
          <ac:chgData name="Wang, Peili" userId="95f81b23-c812-470c-aca8-455e8f0787ab" providerId="ADAL" clId="{AEB4A0FA-7057-4877-A789-E0DA08C5A19A}" dt="2025-05-13T14:53:12.461" v="336" actId="14100"/>
          <ac:spMkLst>
            <pc:docMk/>
            <pc:sldMk cId="3156788896" sldId="2141411704"/>
            <ac:spMk id="11" creationId="{9DA040AC-532D-E6DB-0862-74AAB941CAA6}"/>
          </ac:spMkLst>
        </pc:spChg>
        <pc:spChg chg="mod">
          <ac:chgData name="Wang, Peili" userId="95f81b23-c812-470c-aca8-455e8f0787ab" providerId="ADAL" clId="{AEB4A0FA-7057-4877-A789-E0DA08C5A19A}" dt="2025-05-13T14:53:15.107" v="337" actId="1076"/>
          <ac:spMkLst>
            <pc:docMk/>
            <pc:sldMk cId="3156788896" sldId="2141411704"/>
            <ac:spMk id="12" creationId="{44B1EC28-4730-23D0-45DD-3660B973A2A8}"/>
          </ac:spMkLst>
        </pc:spChg>
        <pc:spChg chg="mod">
          <ac:chgData name="Wang, Peili" userId="95f81b23-c812-470c-aca8-455e8f0787ab" providerId="ADAL" clId="{AEB4A0FA-7057-4877-A789-E0DA08C5A19A}" dt="2025-05-13T14:53:28.805" v="340" actId="14100"/>
          <ac:spMkLst>
            <pc:docMk/>
            <pc:sldMk cId="3156788896" sldId="2141411704"/>
            <ac:spMk id="24" creationId="{A78F1C73-528E-D881-D238-9792C623428A}"/>
          </ac:spMkLst>
        </pc:spChg>
        <pc:spChg chg="mod">
          <ac:chgData name="Wang, Peili" userId="95f81b23-c812-470c-aca8-455e8f0787ab" providerId="ADAL" clId="{AEB4A0FA-7057-4877-A789-E0DA08C5A19A}" dt="2025-05-13T16:38:50.175" v="678" actId="1076"/>
          <ac:spMkLst>
            <pc:docMk/>
            <pc:sldMk cId="3156788896" sldId="2141411704"/>
            <ac:spMk id="25" creationId="{9813C2B6-B2AC-8E0D-F01C-256048AEB7E1}"/>
          </ac:spMkLst>
        </pc:spChg>
        <pc:picChg chg="mod">
          <ac:chgData name="Wang, Peili" userId="95f81b23-c812-470c-aca8-455e8f0787ab" providerId="ADAL" clId="{AEB4A0FA-7057-4877-A789-E0DA08C5A19A}" dt="2025-05-13T14:52:56.670" v="331" actId="1076"/>
          <ac:picMkLst>
            <pc:docMk/>
            <pc:sldMk cId="3156788896" sldId="2141411704"/>
            <ac:picMk id="9" creationId="{A0B7BBC5-2193-ACD0-BB41-F5AEB6069A43}"/>
          </ac:picMkLst>
        </pc:picChg>
      </pc:sldChg>
      <pc:sldChg chg="delSp modSp add">
        <pc:chgData name="Wang, Peili" userId="95f81b23-c812-470c-aca8-455e8f0787ab" providerId="ADAL" clId="{AEB4A0FA-7057-4877-A789-E0DA08C5A19A}" dt="2025-05-13T13:18:04.700" v="229" actId="1076"/>
        <pc:sldMkLst>
          <pc:docMk/>
          <pc:sldMk cId="138499851" sldId="2141411705"/>
        </pc:sldMkLst>
      </pc:sldChg>
      <pc:sldChg chg="addSp delSp modSp new mod ord modNotesTx">
        <pc:chgData name="Wang, Peili" userId="95f81b23-c812-470c-aca8-455e8f0787ab" providerId="ADAL" clId="{AEB4A0FA-7057-4877-A789-E0DA08C5A19A}" dt="2025-05-13T17:44:14.210" v="1961"/>
        <pc:sldMkLst>
          <pc:docMk/>
          <pc:sldMk cId="2805659684" sldId="2141411706"/>
        </pc:sldMkLst>
      </pc:sldChg>
      <pc:sldChg chg="addSp delSp modSp new mod modClrScheme chgLayout">
        <pc:chgData name="Wang, Peili" userId="95f81b23-c812-470c-aca8-455e8f0787ab" providerId="ADAL" clId="{AEB4A0FA-7057-4877-A789-E0DA08C5A19A}" dt="2025-05-13T17:52:25.634" v="2118" actId="478"/>
        <pc:sldMkLst>
          <pc:docMk/>
          <pc:sldMk cId="1003475791" sldId="2141411707"/>
        </pc:sldMkLst>
        <pc:spChg chg="add mod ord">
          <ac:chgData name="Wang, Peili" userId="95f81b23-c812-470c-aca8-455e8f0787ab" providerId="ADAL" clId="{AEB4A0FA-7057-4877-A789-E0DA08C5A19A}" dt="2025-05-13T17:38:52.838" v="1795"/>
          <ac:spMkLst>
            <pc:docMk/>
            <pc:sldMk cId="1003475791" sldId="2141411707"/>
            <ac:spMk id="5" creationId="{70261BC4-2420-598A-F514-1B4F1DAE8389}"/>
          </ac:spMkLst>
        </pc:spChg>
        <pc:spChg chg="add mod ord">
          <ac:chgData name="Wang, Peili" userId="95f81b23-c812-470c-aca8-455e8f0787ab" providerId="ADAL" clId="{AEB4A0FA-7057-4877-A789-E0DA08C5A19A}" dt="2025-05-13T17:42:09.527" v="1875" actId="1076"/>
          <ac:spMkLst>
            <pc:docMk/>
            <pc:sldMk cId="1003475791" sldId="2141411707"/>
            <ac:spMk id="6" creationId="{4CAF94C9-DC97-7B80-7EE5-08BCD9AC511D}"/>
          </ac:spMkLst>
        </pc:spChg>
        <pc:spChg chg="add mod ord">
          <ac:chgData name="Wang, Peili" userId="95f81b23-c812-470c-aca8-455e8f0787ab" providerId="ADAL" clId="{AEB4A0FA-7057-4877-A789-E0DA08C5A19A}" dt="2025-05-13T17:43:43.118" v="1959" actId="20577"/>
          <ac:spMkLst>
            <pc:docMk/>
            <pc:sldMk cId="1003475791" sldId="2141411707"/>
            <ac:spMk id="7" creationId="{154C7505-3130-CB4E-C82D-FCDA5A3E38A0}"/>
          </ac:spMkLst>
        </pc:spChg>
      </pc:sldChg>
      <pc:sldChg chg="addSp delSp modSp add mod ord modNotesTx">
        <pc:chgData name="Wang, Peili" userId="95f81b23-c812-470c-aca8-455e8f0787ab" providerId="ADAL" clId="{AEB4A0FA-7057-4877-A789-E0DA08C5A19A}" dt="2025-05-13T17:57:14.338" v="2160" actId="20577"/>
        <pc:sldMkLst>
          <pc:docMk/>
          <pc:sldMk cId="1784398975" sldId="2141411708"/>
        </pc:sldMkLst>
      </pc:sldChg>
      <pc:sldChg chg="new del">
        <pc:chgData name="Wang, Peili" userId="95f81b23-c812-470c-aca8-455e8f0787ab" providerId="ADAL" clId="{AEB4A0FA-7057-4877-A789-E0DA08C5A19A}" dt="2025-05-13T17:58:59.334" v="2162" actId="47"/>
        <pc:sldMkLst>
          <pc:docMk/>
          <pc:sldMk cId="1209108289" sldId="2141411709"/>
        </pc:sldMkLst>
      </pc:sldChg>
    </pc:docChg>
  </pc:docChgLst>
  <pc:docChgLst>
    <pc:chgData name="Wang, Peili" userId="95f81b23-c812-470c-aca8-455e8f0787ab" providerId="ADAL" clId="{9974C754-A268-4206-A7B6-B70EED856C14}"/>
    <pc:docChg chg="undo custSel addSld modSld sldOrd">
      <pc:chgData name="Wang, Peili" userId="95f81b23-c812-470c-aca8-455e8f0787ab" providerId="ADAL" clId="{9974C754-A268-4206-A7B6-B70EED856C14}" dt="2025-04-29T16:30:27.007" v="896" actId="1076"/>
      <pc:docMkLst>
        <pc:docMk/>
      </pc:docMkLst>
      <pc:sldChg chg="ord">
        <pc:chgData name="Wang, Peili" userId="95f81b23-c812-470c-aca8-455e8f0787ab" providerId="ADAL" clId="{9974C754-A268-4206-A7B6-B70EED856C14}" dt="2025-04-29T16:18:38.991" v="435"/>
        <pc:sldMkLst>
          <pc:docMk/>
          <pc:sldMk cId="4245646044" sldId="1253"/>
        </pc:sldMkLst>
      </pc:sldChg>
      <pc:sldChg chg="delSp modSp mod ord">
        <pc:chgData name="Wang, Peili" userId="95f81b23-c812-470c-aca8-455e8f0787ab" providerId="ADAL" clId="{9974C754-A268-4206-A7B6-B70EED856C14}" dt="2025-04-29T16:27:57.864" v="866"/>
        <pc:sldMkLst>
          <pc:docMk/>
          <pc:sldMk cId="1210281398" sldId="2141411685"/>
        </pc:sldMkLst>
      </pc:sldChg>
      <pc:sldChg chg="addSp delSp modSp new mod modClrScheme chgLayout">
        <pc:chgData name="Wang, Peili" userId="95f81b23-c812-470c-aca8-455e8f0787ab" providerId="ADAL" clId="{9974C754-A268-4206-A7B6-B70EED856C14}" dt="2025-04-29T16:10:42.527" v="121" actId="20577"/>
        <pc:sldMkLst>
          <pc:docMk/>
          <pc:sldMk cId="3128925283" sldId="2141411686"/>
        </pc:sldMkLst>
      </pc:sldChg>
      <pc:sldChg chg="addSp delSp modSp add mod ord">
        <pc:chgData name="Wang, Peili" userId="95f81b23-c812-470c-aca8-455e8f0787ab" providerId="ADAL" clId="{9974C754-A268-4206-A7B6-B70EED856C14}" dt="2025-04-29T16:30:27.007" v="896" actId="1076"/>
        <pc:sldMkLst>
          <pc:docMk/>
          <pc:sldMk cId="1619385992" sldId="2141411687"/>
        </pc:sldMkLst>
      </pc:sldChg>
      <pc:sldChg chg="modSp add ord">
        <pc:chgData name="Wang, Peili" userId="95f81b23-c812-470c-aca8-455e8f0787ab" providerId="ADAL" clId="{9974C754-A268-4206-A7B6-B70EED856C14}" dt="2025-04-29T16:18:10.516" v="431" actId="20577"/>
        <pc:sldMkLst>
          <pc:docMk/>
          <pc:sldMk cId="1635432511" sldId="2141411688"/>
        </pc:sldMkLst>
      </pc:sldChg>
    </pc:docChg>
  </pc:docChgLst>
  <pc:docChgLst>
    <pc:chgData name="Wang, Peili" userId="95f81b23-c812-470c-aca8-455e8f0787ab" providerId="ADAL" clId="{6FD0D2EE-8371-4224-8E36-250C0AED3D84}"/>
    <pc:docChg chg="custSel modSld">
      <pc:chgData name="Wang, Peili" userId="95f81b23-c812-470c-aca8-455e8f0787ab" providerId="ADAL" clId="{6FD0D2EE-8371-4224-8E36-250C0AED3D84}" dt="2025-05-22T20:29:26.272" v="7" actId="1076"/>
      <pc:docMkLst>
        <pc:docMk/>
      </pc:docMkLst>
      <pc:sldChg chg="modSp mod">
        <pc:chgData name="Wang, Peili" userId="95f81b23-c812-470c-aca8-455e8f0787ab" providerId="ADAL" clId="{6FD0D2EE-8371-4224-8E36-250C0AED3D84}" dt="2025-05-22T20:28:59.850" v="5" actId="20577"/>
        <pc:sldMkLst>
          <pc:docMk/>
          <pc:sldMk cId="1646108350" sldId="256"/>
        </pc:sldMkLst>
        <pc:spChg chg="mod">
          <ac:chgData name="Wang, Peili" userId="95f81b23-c812-470c-aca8-455e8f0787ab" providerId="ADAL" clId="{6FD0D2EE-8371-4224-8E36-250C0AED3D84}" dt="2025-05-22T20:28:59.850" v="5" actId="20577"/>
          <ac:spMkLst>
            <pc:docMk/>
            <pc:sldMk cId="1646108350" sldId="256"/>
            <ac:spMk id="3" creationId="{E1796B25-30E6-B34F-5D85-18062BF18782}"/>
          </ac:spMkLst>
        </pc:spChg>
      </pc:sldChg>
      <pc:sldChg chg="modNotesTx">
        <pc:chgData name="Wang, Peili" userId="95f81b23-c812-470c-aca8-455e8f0787ab" providerId="ADAL" clId="{6FD0D2EE-8371-4224-8E36-250C0AED3D84}" dt="2025-05-22T20:08:06.437" v="0" actId="313"/>
        <pc:sldMkLst>
          <pc:docMk/>
          <pc:sldMk cId="3156788896" sldId="2141411704"/>
        </pc:sldMkLst>
      </pc:sldChg>
      <pc:sldChg chg="modSp mod">
        <pc:chgData name="Wang, Peili" userId="95f81b23-c812-470c-aca8-455e8f0787ab" providerId="ADAL" clId="{6FD0D2EE-8371-4224-8E36-250C0AED3D84}" dt="2025-05-22T20:29:26.272" v="7" actId="1076"/>
        <pc:sldMkLst>
          <pc:docMk/>
          <pc:sldMk cId="1707480365" sldId="2141411714"/>
        </pc:sldMkLst>
        <pc:spChg chg="mod">
          <ac:chgData name="Wang, Peili" userId="95f81b23-c812-470c-aca8-455e8f0787ab" providerId="ADAL" clId="{6FD0D2EE-8371-4224-8E36-250C0AED3D84}" dt="2025-05-22T20:29:26.272" v="7" actId="1076"/>
          <ac:spMkLst>
            <pc:docMk/>
            <pc:sldMk cId="1707480365" sldId="2141411714"/>
            <ac:spMk id="5" creationId="{217C4FE8-5D31-9559-DB05-E537A0A7A9E4}"/>
          </ac:spMkLst>
        </pc:spChg>
      </pc:sldChg>
    </pc:docChg>
  </pc:docChgLst>
  <pc:docChgLst>
    <pc:chgData name="Wang, Peili" userId="95f81b23-c812-470c-aca8-455e8f0787ab" providerId="ADAL" clId="{A63B3733-46DC-4FB8-99B2-99E1E24D9BF6}"/>
    <pc:docChg chg="undo custSel addSld delSld modSld sldOrd modSection">
      <pc:chgData name="Wang, Peili" userId="95f81b23-c812-470c-aca8-455e8f0787ab" providerId="ADAL" clId="{A63B3733-46DC-4FB8-99B2-99E1E24D9BF6}" dt="2025-05-08T15:05:24.778" v="1859" actId="47"/>
      <pc:docMkLst>
        <pc:docMk/>
      </pc:docMkLst>
      <pc:sldChg chg="modSp mod ord modNotesTx">
        <pc:chgData name="Wang, Peili" userId="95f81b23-c812-470c-aca8-455e8f0787ab" providerId="ADAL" clId="{A63B3733-46DC-4FB8-99B2-99E1E24D9BF6}" dt="2025-05-08T14:42:38.859" v="1059" actId="20577"/>
        <pc:sldMkLst>
          <pc:docMk/>
          <pc:sldMk cId="3957938303" sldId="2141411664"/>
        </pc:sldMkLst>
        <pc:spChg chg="mod">
          <ac:chgData name="Wang, Peili" userId="95f81b23-c812-470c-aca8-455e8f0787ab" providerId="ADAL" clId="{A63B3733-46DC-4FB8-99B2-99E1E24D9BF6}" dt="2025-05-08T14:34:41.987" v="673" actId="20577"/>
          <ac:spMkLst>
            <pc:docMk/>
            <pc:sldMk cId="3957938303" sldId="2141411664"/>
            <ac:spMk id="5" creationId="{1CB07FB5-2A7B-A251-6951-025757E3C9D3}"/>
          </ac:spMkLst>
        </pc:spChg>
        <pc:spChg chg="mod">
          <ac:chgData name="Wang, Peili" userId="95f81b23-c812-470c-aca8-455e8f0787ab" providerId="ADAL" clId="{A63B3733-46DC-4FB8-99B2-99E1E24D9BF6}" dt="2025-05-08T14:38:02.278" v="727" actId="6549"/>
          <ac:spMkLst>
            <pc:docMk/>
            <pc:sldMk cId="3957938303" sldId="2141411664"/>
            <ac:spMk id="10" creationId="{45ACA124-1645-86D9-9322-3BC88BE9424D}"/>
          </ac:spMkLst>
        </pc:spChg>
        <pc:spChg chg="mod">
          <ac:chgData name="Wang, Peili" userId="95f81b23-c812-470c-aca8-455e8f0787ab" providerId="ADAL" clId="{A63B3733-46DC-4FB8-99B2-99E1E24D9BF6}" dt="2025-05-08T14:42:38.859" v="1059" actId="20577"/>
          <ac:spMkLst>
            <pc:docMk/>
            <pc:sldMk cId="3957938303" sldId="2141411664"/>
            <ac:spMk id="21" creationId="{E8364A93-4A01-2927-E9E8-E3CBF815F69F}"/>
          </ac:spMkLst>
        </pc:spChg>
      </pc:sldChg>
      <pc:sldChg chg="modSp mod ord">
        <pc:chgData name="Wang, Peili" userId="95f81b23-c812-470c-aca8-455e8f0787ab" providerId="ADAL" clId="{A63B3733-46DC-4FB8-99B2-99E1E24D9BF6}" dt="2025-05-08T14:19:47.888" v="54"/>
        <pc:sldMkLst>
          <pc:docMk/>
          <pc:sldMk cId="921949941" sldId="2141411692"/>
        </pc:sldMkLst>
      </pc:sldChg>
      <pc:sldChg chg="addSp delSp modSp new del mod modClrScheme chgLayout">
        <pc:chgData name="Wang, Peili" userId="95f81b23-c812-470c-aca8-455e8f0787ab" providerId="ADAL" clId="{A63B3733-46DC-4FB8-99B2-99E1E24D9BF6}" dt="2025-05-08T14:23:22.971" v="133" actId="47"/>
        <pc:sldMkLst>
          <pc:docMk/>
          <pc:sldMk cId="1079738246" sldId="2141411693"/>
        </pc:sldMkLst>
      </pc:sldChg>
      <pc:sldChg chg="addSp delSp modSp new mod modClrScheme chgLayout">
        <pc:chgData name="Wang, Peili" userId="95f81b23-c812-470c-aca8-455e8f0787ab" providerId="ADAL" clId="{A63B3733-46DC-4FB8-99B2-99E1E24D9BF6}" dt="2025-05-08T14:21:07.832" v="65" actId="113"/>
        <pc:sldMkLst>
          <pc:docMk/>
          <pc:sldMk cId="1877433798" sldId="2141411694"/>
        </pc:sldMkLst>
      </pc:sldChg>
      <pc:sldChg chg="addSp delSp modSp new mod modClrScheme chgLayout modNotesTx">
        <pc:chgData name="Wang, Peili" userId="95f81b23-c812-470c-aca8-455e8f0787ab" providerId="ADAL" clId="{A63B3733-46DC-4FB8-99B2-99E1E24D9BF6}" dt="2025-05-08T15:05:03.024" v="1858" actId="20577"/>
        <pc:sldMkLst>
          <pc:docMk/>
          <pc:sldMk cId="775637130" sldId="2141411695"/>
        </pc:sldMkLst>
      </pc:sldChg>
      <pc:sldChg chg="new del">
        <pc:chgData name="Wang, Peili" userId="95f81b23-c812-470c-aca8-455e8f0787ab" providerId="ADAL" clId="{A63B3733-46DC-4FB8-99B2-99E1E24D9BF6}" dt="2025-05-08T14:22:13.034" v="67" actId="47"/>
        <pc:sldMkLst>
          <pc:docMk/>
          <pc:sldMk cId="2959081982" sldId="2141411695"/>
        </pc:sldMkLst>
      </pc:sldChg>
      <pc:sldChg chg="add">
        <pc:chgData name="Wang, Peili" userId="95f81b23-c812-470c-aca8-455e8f0787ab" providerId="ADAL" clId="{A63B3733-46DC-4FB8-99B2-99E1E24D9BF6}" dt="2025-05-08T14:24:09.992" v="152"/>
        <pc:sldMkLst>
          <pc:docMk/>
          <pc:sldMk cId="3727796230" sldId="2141411696"/>
        </pc:sldMkLst>
      </pc:sldChg>
      <pc:sldChg chg="modSp new mod modNotesTx">
        <pc:chgData name="Wang, Peili" userId="95f81b23-c812-470c-aca8-455e8f0787ab" providerId="ADAL" clId="{A63B3733-46DC-4FB8-99B2-99E1E24D9BF6}" dt="2025-05-08T14:33:12.816" v="671" actId="20577"/>
        <pc:sldMkLst>
          <pc:docMk/>
          <pc:sldMk cId="3330329049" sldId="2141411697"/>
        </pc:sldMkLst>
        <pc:spChg chg="mod">
          <ac:chgData name="Wang, Peili" userId="95f81b23-c812-470c-aca8-455e8f0787ab" providerId="ADAL" clId="{A63B3733-46DC-4FB8-99B2-99E1E24D9BF6}" dt="2025-05-08T14:26:20.941" v="305"/>
          <ac:spMkLst>
            <pc:docMk/>
            <pc:sldMk cId="3330329049" sldId="2141411697"/>
            <ac:spMk id="2" creationId="{09C7A374-B047-BF52-DFEE-77024CF045AF}"/>
          </ac:spMkLst>
        </pc:spChg>
        <pc:spChg chg="mod">
          <ac:chgData name="Wang, Peili" userId="95f81b23-c812-470c-aca8-455e8f0787ab" providerId="ADAL" clId="{A63B3733-46DC-4FB8-99B2-99E1E24D9BF6}" dt="2025-05-08T14:33:12.816" v="671" actId="20577"/>
          <ac:spMkLst>
            <pc:docMk/>
            <pc:sldMk cId="3330329049" sldId="2141411697"/>
            <ac:spMk id="3" creationId="{5FD01B92-9C8F-C085-EEB2-BA204B45D355}"/>
          </ac:spMkLst>
        </pc:spChg>
      </pc:sldChg>
      <pc:sldChg chg="modSp new del mod">
        <pc:chgData name="Wang, Peili" userId="95f81b23-c812-470c-aca8-455e8f0787ab" providerId="ADAL" clId="{A63B3733-46DC-4FB8-99B2-99E1E24D9BF6}" dt="2025-05-08T14:55:06.752" v="1299" actId="47"/>
        <pc:sldMkLst>
          <pc:docMk/>
          <pc:sldMk cId="3264294043" sldId="2141411698"/>
        </pc:sldMkLst>
      </pc:sldChg>
      <pc:sldChg chg="addSp delSp modSp add mod modNotesTx">
        <pc:chgData name="Wang, Peili" userId="95f81b23-c812-470c-aca8-455e8f0787ab" providerId="ADAL" clId="{A63B3733-46DC-4FB8-99B2-99E1E24D9BF6}" dt="2025-05-08T14:50:16.887" v="1178" actId="1076"/>
        <pc:sldMkLst>
          <pc:docMk/>
          <pc:sldMk cId="3692508902" sldId="2141411699"/>
        </pc:sldMkLst>
      </pc:sldChg>
      <pc:sldChg chg="addSp delSp modSp new mod modNotesTx">
        <pc:chgData name="Wang, Peili" userId="95f81b23-c812-470c-aca8-455e8f0787ab" providerId="ADAL" clId="{A63B3733-46DC-4FB8-99B2-99E1E24D9BF6}" dt="2025-05-08T14:54:28.769" v="1298"/>
        <pc:sldMkLst>
          <pc:docMk/>
          <pc:sldMk cId="2938049519" sldId="2141411700"/>
        </pc:sldMkLst>
      </pc:sldChg>
      <pc:sldChg chg="addSp delSp modSp new mod modClrScheme chgLayout">
        <pc:chgData name="Wang, Peili" userId="95f81b23-c812-470c-aca8-455e8f0787ab" providerId="ADAL" clId="{A63B3733-46DC-4FB8-99B2-99E1E24D9BF6}" dt="2025-05-08T14:58:37.423" v="1581" actId="20577"/>
        <pc:sldMkLst>
          <pc:docMk/>
          <pc:sldMk cId="231990289" sldId="2141411701"/>
        </pc:sldMkLst>
        <pc:spChg chg="add mod ord">
          <ac:chgData name="Wang, Peili" userId="95f81b23-c812-470c-aca8-455e8f0787ab" providerId="ADAL" clId="{A63B3733-46DC-4FB8-99B2-99E1E24D9BF6}" dt="2025-05-08T14:55:18.253" v="1301" actId="700"/>
          <ac:spMkLst>
            <pc:docMk/>
            <pc:sldMk cId="231990289" sldId="2141411701"/>
            <ac:spMk id="6" creationId="{415914C7-52A8-F373-7C6D-669BAF45C65E}"/>
          </ac:spMkLst>
        </pc:spChg>
        <pc:spChg chg="add mod ord">
          <ac:chgData name="Wang, Peili" userId="95f81b23-c812-470c-aca8-455e8f0787ab" providerId="ADAL" clId="{A63B3733-46DC-4FB8-99B2-99E1E24D9BF6}" dt="2025-05-08T14:58:37.423" v="1581" actId="20577"/>
          <ac:spMkLst>
            <pc:docMk/>
            <pc:sldMk cId="231990289" sldId="2141411701"/>
            <ac:spMk id="7" creationId="{73CA1D66-77EC-490C-65F1-2712B8D86F0D}"/>
          </ac:spMkLst>
        </pc:spChg>
        <pc:spChg chg="add mod ord">
          <ac:chgData name="Wang, Peili" userId="95f81b23-c812-470c-aca8-455e8f0787ab" providerId="ADAL" clId="{A63B3733-46DC-4FB8-99B2-99E1E24D9BF6}" dt="2025-05-08T14:55:18.253" v="1301" actId="700"/>
          <ac:spMkLst>
            <pc:docMk/>
            <pc:sldMk cId="231990289" sldId="2141411701"/>
            <ac:spMk id="8" creationId="{F28C14F2-BA7D-8904-1081-0C66AFD07932}"/>
          </ac:spMkLst>
        </pc:spChg>
      </pc:sldChg>
      <pc:sldChg chg="new del">
        <pc:chgData name="Wang, Peili" userId="95f81b23-c812-470c-aca8-455e8f0787ab" providerId="ADAL" clId="{A63B3733-46DC-4FB8-99B2-99E1E24D9BF6}" dt="2025-05-08T15:05:24.778" v="1859" actId="47"/>
        <pc:sldMkLst>
          <pc:docMk/>
          <pc:sldMk cId="3039979132" sldId="2141411702"/>
        </pc:sldMkLst>
      </pc:sldChg>
    </pc:docChg>
  </pc:docChgLst>
  <pc:docChgLst>
    <pc:chgData name="Wang, Peili" userId="95f81b23-c812-470c-aca8-455e8f0787ab" providerId="ADAL" clId="{F48FA1F1-D7D9-4D39-8F92-B10BDB7DD432}"/>
    <pc:docChg chg="undo custSel addSld delSld modSld sldOrd">
      <pc:chgData name="Wang, Peili" userId="95f81b23-c812-470c-aca8-455e8f0787ab" providerId="ADAL" clId="{F48FA1F1-D7D9-4D39-8F92-B10BDB7DD432}" dt="2025-04-28T14:53:18.485" v="1572"/>
      <pc:docMkLst>
        <pc:docMk/>
      </pc:docMkLst>
      <pc:sldChg chg="modSp mod">
        <pc:chgData name="Wang, Peili" userId="95f81b23-c812-470c-aca8-455e8f0787ab" providerId="ADAL" clId="{F48FA1F1-D7D9-4D39-8F92-B10BDB7DD432}" dt="2025-04-28T14:22:51.716" v="675" actId="14100"/>
        <pc:sldMkLst>
          <pc:docMk/>
          <pc:sldMk cId="3539023228" sldId="263"/>
        </pc:sldMkLst>
      </pc:sldChg>
      <pc:sldChg chg="del">
        <pc:chgData name="Wang, Peili" userId="95f81b23-c812-470c-aca8-455e8f0787ab" providerId="ADAL" clId="{F48FA1F1-D7D9-4D39-8F92-B10BDB7DD432}" dt="2025-04-28T14:30:54.587" v="1025" actId="47"/>
        <pc:sldMkLst>
          <pc:docMk/>
          <pc:sldMk cId="621867992" sldId="265"/>
        </pc:sldMkLst>
      </pc:sldChg>
      <pc:sldChg chg="del">
        <pc:chgData name="Wang, Peili" userId="95f81b23-c812-470c-aca8-455e8f0787ab" providerId="ADAL" clId="{F48FA1F1-D7D9-4D39-8F92-B10BDB7DD432}" dt="2025-04-28T14:30:51.411" v="1024" actId="47"/>
        <pc:sldMkLst>
          <pc:docMk/>
          <pc:sldMk cId="919635090" sldId="266"/>
        </pc:sldMkLst>
      </pc:sldChg>
      <pc:sldChg chg="modSp mod">
        <pc:chgData name="Wang, Peili" userId="95f81b23-c812-470c-aca8-455e8f0787ab" providerId="ADAL" clId="{F48FA1F1-D7D9-4D39-8F92-B10BDB7DD432}" dt="2025-04-28T14:40:31.370" v="1115" actId="1076"/>
        <pc:sldMkLst>
          <pc:docMk/>
          <pc:sldMk cId="4245646044" sldId="1253"/>
        </pc:sldMkLst>
      </pc:sldChg>
      <pc:sldChg chg="del">
        <pc:chgData name="Wang, Peili" userId="95f81b23-c812-470c-aca8-455e8f0787ab" providerId="ADAL" clId="{F48FA1F1-D7D9-4D39-8F92-B10BDB7DD432}" dt="2025-04-28T14:44:53.158" v="1202" actId="47"/>
        <pc:sldMkLst>
          <pc:docMk/>
          <pc:sldMk cId="55963239" sldId="2141411663"/>
        </pc:sldMkLst>
      </pc:sldChg>
      <pc:sldChg chg="delSp modSp mod delAnim">
        <pc:chgData name="Wang, Peili" userId="95f81b23-c812-470c-aca8-455e8f0787ab" providerId="ADAL" clId="{F48FA1F1-D7D9-4D39-8F92-B10BDB7DD432}" dt="2025-04-28T14:28:46.716" v="1018" actId="20577"/>
        <pc:sldMkLst>
          <pc:docMk/>
          <pc:sldMk cId="3957938303" sldId="2141411664"/>
        </pc:sldMkLst>
        <pc:spChg chg="mod">
          <ac:chgData name="Wang, Peili" userId="95f81b23-c812-470c-aca8-455e8f0787ab" providerId="ADAL" clId="{F48FA1F1-D7D9-4D39-8F92-B10BDB7DD432}" dt="2025-04-28T14:28:46.716" v="1018" actId="20577"/>
          <ac:spMkLst>
            <pc:docMk/>
            <pc:sldMk cId="3957938303" sldId="2141411664"/>
            <ac:spMk id="10" creationId="{45ACA124-1645-86D9-9322-3BC88BE9424D}"/>
          </ac:spMkLst>
        </pc:spChg>
        <pc:spChg chg="mod">
          <ac:chgData name="Wang, Peili" userId="95f81b23-c812-470c-aca8-455e8f0787ab" providerId="ADAL" clId="{F48FA1F1-D7D9-4D39-8F92-B10BDB7DD432}" dt="2025-04-28T14:16:45.731" v="246" actId="1076"/>
          <ac:spMkLst>
            <pc:docMk/>
            <pc:sldMk cId="3957938303" sldId="2141411664"/>
            <ac:spMk id="21" creationId="{E8364A93-4A01-2927-E9E8-E3CBF815F69F}"/>
          </ac:spMkLst>
        </pc:spChg>
      </pc:sldChg>
      <pc:sldChg chg="modSp mod modNotesTx">
        <pc:chgData name="Wang, Peili" userId="95f81b23-c812-470c-aca8-455e8f0787ab" providerId="ADAL" clId="{F48FA1F1-D7D9-4D39-8F92-B10BDB7DD432}" dt="2025-04-28T14:30:05.937" v="1023" actId="1076"/>
        <pc:sldMkLst>
          <pc:docMk/>
          <pc:sldMk cId="4020335415" sldId="2141411683"/>
        </pc:sldMkLst>
      </pc:sldChg>
      <pc:sldChg chg="addSp delSp modSp new mod ord">
        <pc:chgData name="Wang, Peili" userId="95f81b23-c812-470c-aca8-455e8f0787ab" providerId="ADAL" clId="{F48FA1F1-D7D9-4D39-8F92-B10BDB7DD432}" dt="2025-04-28T14:53:18.485" v="1572"/>
        <pc:sldMkLst>
          <pc:docMk/>
          <pc:sldMk cId="1210281398" sldId="2141411685"/>
        </pc:sldMkLst>
      </pc:sldChg>
      <pc:sldChg chg="addSp delSp modSp new del mod">
        <pc:chgData name="Wang, Peili" userId="95f81b23-c812-470c-aca8-455e8f0787ab" providerId="ADAL" clId="{F48FA1F1-D7D9-4D39-8F92-B10BDB7DD432}" dt="2025-04-28T14:37:12.543" v="1052" actId="47"/>
        <pc:sldMkLst>
          <pc:docMk/>
          <pc:sldMk cId="1992838479" sldId="2141411685"/>
        </pc:sldMkLst>
      </pc:sldChg>
      <pc:sldChg chg="delSp modSp add del mod">
        <pc:chgData name="Wang, Peili" userId="95f81b23-c812-470c-aca8-455e8f0787ab" providerId="ADAL" clId="{F48FA1F1-D7D9-4D39-8F92-B10BDB7DD432}" dt="2025-04-28T14:49:49.709" v="1438" actId="47"/>
        <pc:sldMkLst>
          <pc:docMk/>
          <pc:sldMk cId="1756626041" sldId="2141411686"/>
        </pc:sldMkLst>
      </pc:sldChg>
    </pc:docChg>
  </pc:docChgLst>
  <pc:docChgLst>
    <pc:chgData name="Wang, Peili" userId="95f81b23-c812-470c-aca8-455e8f0787ab" providerId="ADAL" clId="{BDC275F4-0EB0-4234-BBBE-6A43EB0A4439}"/>
    <pc:docChg chg="undo custSel modSld">
      <pc:chgData name="Wang, Peili" userId="95f81b23-c812-470c-aca8-455e8f0787ab" providerId="ADAL" clId="{BDC275F4-0EB0-4234-BBBE-6A43EB0A4439}" dt="2025-06-09T19:16:49.708" v="144" actId="20577"/>
      <pc:docMkLst>
        <pc:docMk/>
      </pc:docMkLst>
      <pc:sldChg chg="modSp mod modAnim">
        <pc:chgData name="Wang, Peili" userId="95f81b23-c812-470c-aca8-455e8f0787ab" providerId="ADAL" clId="{BDC275F4-0EB0-4234-BBBE-6A43EB0A4439}" dt="2025-06-09T18:05:43.130" v="110" actId="208"/>
        <pc:sldMkLst>
          <pc:docMk/>
          <pc:sldMk cId="3957938303" sldId="2141411664"/>
        </pc:sldMkLst>
        <pc:spChg chg="mod">
          <ac:chgData name="Wang, Peili" userId="95f81b23-c812-470c-aca8-455e8f0787ab" providerId="ADAL" clId="{BDC275F4-0EB0-4234-BBBE-6A43EB0A4439}" dt="2025-06-09T18:05:37.008" v="109" actId="208"/>
          <ac:spMkLst>
            <pc:docMk/>
            <pc:sldMk cId="3957938303" sldId="2141411664"/>
            <ac:spMk id="17" creationId="{D2F0F2B5-B71E-B78C-52F7-9138DC8DED5E}"/>
          </ac:spMkLst>
        </pc:spChg>
        <pc:spChg chg="mod">
          <ac:chgData name="Wang, Peili" userId="95f81b23-c812-470c-aca8-455e8f0787ab" providerId="ADAL" clId="{BDC275F4-0EB0-4234-BBBE-6A43EB0A4439}" dt="2025-06-09T18:05:43.130" v="110" actId="208"/>
          <ac:spMkLst>
            <pc:docMk/>
            <pc:sldMk cId="3957938303" sldId="2141411664"/>
            <ac:spMk id="18" creationId="{87F0FB5A-94CE-80B5-D914-823579A74A9A}"/>
          </ac:spMkLst>
        </pc:spChg>
        <pc:picChg chg="mod">
          <ac:chgData name="Wang, Peili" userId="95f81b23-c812-470c-aca8-455e8f0787ab" providerId="ADAL" clId="{BDC275F4-0EB0-4234-BBBE-6A43EB0A4439}" dt="2025-06-09T18:04:55.391" v="101" actId="1076"/>
          <ac:picMkLst>
            <pc:docMk/>
            <pc:sldMk cId="3957938303" sldId="2141411664"/>
            <ac:picMk id="13" creationId="{C3125815-8CD4-FF00-8966-2CE9D0468C99}"/>
          </ac:picMkLst>
        </pc:picChg>
      </pc:sldChg>
      <pc:sldChg chg="modSp modAnim">
        <pc:chgData name="Wang, Peili" userId="95f81b23-c812-470c-aca8-455e8f0787ab" providerId="ADAL" clId="{BDC275F4-0EB0-4234-BBBE-6A43EB0A4439}" dt="2025-06-09T19:16:49.708" v="144" actId="20577"/>
        <pc:sldMkLst>
          <pc:docMk/>
          <pc:sldMk cId="2528523666" sldId="2141411702"/>
        </pc:sldMkLst>
        <pc:graphicFrameChg chg="mod">
          <ac:chgData name="Wang, Peili" userId="95f81b23-c812-470c-aca8-455e8f0787ab" providerId="ADAL" clId="{BDC275F4-0EB0-4234-BBBE-6A43EB0A4439}" dt="2025-06-09T19:16:49.708" v="144" actId="20577"/>
          <ac:graphicFrameMkLst>
            <pc:docMk/>
            <pc:sldMk cId="2528523666" sldId="2141411702"/>
            <ac:graphicFrameMk id="5" creationId="{611B0220-7531-75BD-D2D0-A79C65E9C684}"/>
          </ac:graphicFrameMkLst>
        </pc:graphicFrameChg>
      </pc:sldChg>
      <pc:sldChg chg="modSp mod modAnim">
        <pc:chgData name="Wang, Peili" userId="95f81b23-c812-470c-aca8-455e8f0787ab" providerId="ADAL" clId="{BDC275F4-0EB0-4234-BBBE-6A43EB0A4439}" dt="2025-06-09T17:45:38.364" v="69" actId="1076"/>
        <pc:sldMkLst>
          <pc:docMk/>
          <pc:sldMk cId="3156788896" sldId="2141411704"/>
        </pc:sldMkLst>
        <pc:spChg chg="mod">
          <ac:chgData name="Wang, Peili" userId="95f81b23-c812-470c-aca8-455e8f0787ab" providerId="ADAL" clId="{BDC275F4-0EB0-4234-BBBE-6A43EB0A4439}" dt="2025-06-09T17:45:38.364" v="69" actId="1076"/>
          <ac:spMkLst>
            <pc:docMk/>
            <pc:sldMk cId="3156788896" sldId="2141411704"/>
            <ac:spMk id="25" creationId="{9813C2B6-B2AC-8E0D-F01C-256048AEB7E1}"/>
          </ac:spMkLst>
        </pc:spChg>
      </pc:sldChg>
      <pc:sldChg chg="modAnim">
        <pc:chgData name="Wang, Peili" userId="95f81b23-c812-470c-aca8-455e8f0787ab" providerId="ADAL" clId="{BDC275F4-0EB0-4234-BBBE-6A43EB0A4439}" dt="2025-06-09T17:47:42.681" v="75"/>
        <pc:sldMkLst>
          <pc:docMk/>
          <pc:sldMk cId="1003475791" sldId="2141411707"/>
        </pc:sldMkLst>
      </pc:sldChg>
      <pc:sldChg chg="addSp delSp modSp mod modAnim">
        <pc:chgData name="Wang, Peili" userId="95f81b23-c812-470c-aca8-455e8f0787ab" providerId="ADAL" clId="{BDC275F4-0EB0-4234-BBBE-6A43EB0A4439}" dt="2025-06-09T17:42:19.513" v="53" actId="1076"/>
        <pc:sldMkLst>
          <pc:docMk/>
          <pc:sldMk cId="4143396677" sldId="2141411709"/>
        </pc:sldMkLst>
        <pc:spChg chg="add del mod">
          <ac:chgData name="Wang, Peili" userId="95f81b23-c812-470c-aca8-455e8f0787ab" providerId="ADAL" clId="{BDC275F4-0EB0-4234-BBBE-6A43EB0A4439}" dt="2025-06-09T17:42:16.240" v="52" actId="478"/>
          <ac:spMkLst>
            <pc:docMk/>
            <pc:sldMk cId="4143396677" sldId="2141411709"/>
            <ac:spMk id="5" creationId="{5936C631-98ED-667F-0AFD-C15223E35876}"/>
          </ac:spMkLst>
        </pc:spChg>
        <pc:spChg chg="mod">
          <ac:chgData name="Wang, Peili" userId="95f81b23-c812-470c-aca8-455e8f0787ab" providerId="ADAL" clId="{BDC275F4-0EB0-4234-BBBE-6A43EB0A4439}" dt="2025-06-09T17:40:26.811" v="46" actId="1076"/>
          <ac:spMkLst>
            <pc:docMk/>
            <pc:sldMk cId="4143396677" sldId="2141411709"/>
            <ac:spMk id="7" creationId="{528577F6-DD39-7484-F406-93804E54F036}"/>
          </ac:spMkLst>
        </pc:spChg>
        <pc:spChg chg="mod">
          <ac:chgData name="Wang, Peili" userId="95f81b23-c812-470c-aca8-455e8f0787ab" providerId="ADAL" clId="{BDC275F4-0EB0-4234-BBBE-6A43EB0A4439}" dt="2025-06-09T17:40:14.877" v="44" actId="1076"/>
          <ac:spMkLst>
            <pc:docMk/>
            <pc:sldMk cId="4143396677" sldId="2141411709"/>
            <ac:spMk id="279" creationId="{C47899B5-65B4-668B-35C0-77C47E984C6D}"/>
          </ac:spMkLst>
        </pc:spChg>
        <pc:spChg chg="mod">
          <ac:chgData name="Wang, Peili" userId="95f81b23-c812-470c-aca8-455e8f0787ab" providerId="ADAL" clId="{BDC275F4-0EB0-4234-BBBE-6A43EB0A4439}" dt="2025-06-09T17:40:14.877" v="44" actId="1076"/>
          <ac:spMkLst>
            <pc:docMk/>
            <pc:sldMk cId="4143396677" sldId="2141411709"/>
            <ac:spMk id="293" creationId="{1B190C7B-7492-658D-9B9A-2271713F4775}"/>
          </ac:spMkLst>
        </pc:spChg>
        <pc:spChg chg="mod">
          <ac:chgData name="Wang, Peili" userId="95f81b23-c812-470c-aca8-455e8f0787ab" providerId="ADAL" clId="{BDC275F4-0EB0-4234-BBBE-6A43EB0A4439}" dt="2025-06-09T17:40:14.877" v="44" actId="1076"/>
          <ac:spMkLst>
            <pc:docMk/>
            <pc:sldMk cId="4143396677" sldId="2141411709"/>
            <ac:spMk id="294" creationId="{B0B8F1BA-19C1-B592-8758-AAB2001057A3}"/>
          </ac:spMkLst>
        </pc:spChg>
        <pc:spChg chg="mod">
          <ac:chgData name="Wang, Peili" userId="95f81b23-c812-470c-aca8-455e8f0787ab" providerId="ADAL" clId="{BDC275F4-0EB0-4234-BBBE-6A43EB0A4439}" dt="2025-06-09T17:40:14.877" v="44" actId="1076"/>
          <ac:spMkLst>
            <pc:docMk/>
            <pc:sldMk cId="4143396677" sldId="2141411709"/>
            <ac:spMk id="295" creationId="{032BC1BE-4EF1-FBFD-3508-8A0979682A9D}"/>
          </ac:spMkLst>
        </pc:spChg>
        <pc:spChg chg="mod">
          <ac:chgData name="Wang, Peili" userId="95f81b23-c812-470c-aca8-455e8f0787ab" providerId="ADAL" clId="{BDC275F4-0EB0-4234-BBBE-6A43EB0A4439}" dt="2025-06-09T17:40:14.877" v="44" actId="1076"/>
          <ac:spMkLst>
            <pc:docMk/>
            <pc:sldMk cId="4143396677" sldId="2141411709"/>
            <ac:spMk id="296" creationId="{718A3275-4E75-A358-B188-50A246FDEE54}"/>
          </ac:spMkLst>
        </pc:spChg>
        <pc:spChg chg="mod">
          <ac:chgData name="Wang, Peili" userId="95f81b23-c812-470c-aca8-455e8f0787ab" providerId="ADAL" clId="{BDC275F4-0EB0-4234-BBBE-6A43EB0A4439}" dt="2025-06-09T17:40:14.877" v="44" actId="1076"/>
          <ac:spMkLst>
            <pc:docMk/>
            <pc:sldMk cId="4143396677" sldId="2141411709"/>
            <ac:spMk id="299" creationId="{FADA9E40-C589-5F9E-FE37-4FA55E5C2575}"/>
          </ac:spMkLst>
        </pc:spChg>
        <pc:grpChg chg="mod">
          <ac:chgData name="Wang, Peili" userId="95f81b23-c812-470c-aca8-455e8f0787ab" providerId="ADAL" clId="{BDC275F4-0EB0-4234-BBBE-6A43EB0A4439}" dt="2025-06-09T17:42:19.513" v="53" actId="1076"/>
          <ac:grpSpMkLst>
            <pc:docMk/>
            <pc:sldMk cId="4143396677" sldId="2141411709"/>
            <ac:grpSpMk id="3" creationId="{19DA5BF1-62FC-38C7-5902-12F9BF6E0A1B}"/>
          </ac:grpSpMkLst>
        </pc:grpChg>
        <pc:picChg chg="mod">
          <ac:chgData name="Wang, Peili" userId="95f81b23-c812-470c-aca8-455e8f0787ab" providerId="ADAL" clId="{BDC275F4-0EB0-4234-BBBE-6A43EB0A4439}" dt="2025-06-09T17:40:14.877" v="44" actId="1076"/>
          <ac:picMkLst>
            <pc:docMk/>
            <pc:sldMk cId="4143396677" sldId="2141411709"/>
            <ac:picMk id="282" creationId="{97E737F3-EFDE-CB74-9ED9-83F5F2DC60BD}"/>
          </ac:picMkLst>
        </pc:picChg>
        <pc:picChg chg="mod">
          <ac:chgData name="Wang, Peili" userId="95f81b23-c812-470c-aca8-455e8f0787ab" providerId="ADAL" clId="{BDC275F4-0EB0-4234-BBBE-6A43EB0A4439}" dt="2025-06-09T17:40:14.877" v="44" actId="1076"/>
          <ac:picMkLst>
            <pc:docMk/>
            <pc:sldMk cId="4143396677" sldId="2141411709"/>
            <ac:picMk id="291" creationId="{EF576947-1296-C33E-83AB-2D76D377B397}"/>
          </ac:picMkLst>
        </pc:picChg>
        <pc:picChg chg="mod">
          <ac:chgData name="Wang, Peili" userId="95f81b23-c812-470c-aca8-455e8f0787ab" providerId="ADAL" clId="{BDC275F4-0EB0-4234-BBBE-6A43EB0A4439}" dt="2025-06-09T17:40:14.877" v="44" actId="1076"/>
          <ac:picMkLst>
            <pc:docMk/>
            <pc:sldMk cId="4143396677" sldId="2141411709"/>
            <ac:picMk id="301" creationId="{03738A3A-087B-DFDA-C1A7-55CF4F9C7E57}"/>
          </ac:picMkLst>
        </pc:picChg>
      </pc:sldChg>
      <pc:sldChg chg="modAnim modNotesTx">
        <pc:chgData name="Wang, Peili" userId="95f81b23-c812-470c-aca8-455e8f0787ab" providerId="ADAL" clId="{BDC275F4-0EB0-4234-BBBE-6A43EB0A4439}" dt="2025-06-09T17:50:43.989" v="83" actId="6549"/>
        <pc:sldMkLst>
          <pc:docMk/>
          <pc:sldMk cId="3740605019" sldId="2141411710"/>
        </pc:sldMkLst>
      </pc:sldChg>
      <pc:sldChg chg="addSp modSp modAnim">
        <pc:chgData name="Wang, Peili" userId="95f81b23-c812-470c-aca8-455e8f0787ab" providerId="ADAL" clId="{BDC275F4-0EB0-4234-BBBE-6A43EB0A4439}" dt="2025-06-09T18:10:38.427" v="112"/>
        <pc:sldMkLst>
          <pc:docMk/>
          <pc:sldMk cId="1502043866" sldId="2141411715"/>
        </pc:sldMkLst>
        <pc:spChg chg="mod">
          <ac:chgData name="Wang, Peili" userId="95f81b23-c812-470c-aca8-455e8f0787ab" providerId="ADAL" clId="{BDC275F4-0EB0-4234-BBBE-6A43EB0A4439}" dt="2025-06-09T18:10:37.122" v="111" actId="164"/>
          <ac:spMkLst>
            <pc:docMk/>
            <pc:sldMk cId="1502043866" sldId="2141411715"/>
            <ac:spMk id="5" creationId="{FBBD1278-DC74-BD9B-74F5-6A91597815F5}"/>
          </ac:spMkLst>
        </pc:spChg>
        <pc:spChg chg="mod">
          <ac:chgData name="Wang, Peili" userId="95f81b23-c812-470c-aca8-455e8f0787ab" providerId="ADAL" clId="{BDC275F4-0EB0-4234-BBBE-6A43EB0A4439}" dt="2025-06-09T18:10:37.122" v="111" actId="164"/>
          <ac:spMkLst>
            <pc:docMk/>
            <pc:sldMk cId="1502043866" sldId="2141411715"/>
            <ac:spMk id="7" creationId="{C144EB2B-4117-B14A-80B1-6A5A0989C9D3}"/>
          </ac:spMkLst>
        </pc:spChg>
        <pc:spChg chg="mod">
          <ac:chgData name="Wang, Peili" userId="95f81b23-c812-470c-aca8-455e8f0787ab" providerId="ADAL" clId="{BDC275F4-0EB0-4234-BBBE-6A43EB0A4439}" dt="2025-06-09T18:10:37.122" v="111" actId="164"/>
          <ac:spMkLst>
            <pc:docMk/>
            <pc:sldMk cId="1502043866" sldId="2141411715"/>
            <ac:spMk id="34" creationId="{3B879D03-9518-59A8-7FFB-B63CE78C9BE9}"/>
          </ac:spMkLst>
        </pc:spChg>
        <pc:grpChg chg="add mod">
          <ac:chgData name="Wang, Peili" userId="95f81b23-c812-470c-aca8-455e8f0787ab" providerId="ADAL" clId="{BDC275F4-0EB0-4234-BBBE-6A43EB0A4439}" dt="2025-06-09T18:10:37.122" v="111" actId="164"/>
          <ac:grpSpMkLst>
            <pc:docMk/>
            <pc:sldMk cId="1502043866" sldId="2141411715"/>
            <ac:grpSpMk id="3" creationId="{0F454808-EDCB-46FF-4544-2C7EC31FFD07}"/>
          </ac:grpSpMkLst>
        </pc:grpChg>
        <pc:grpChg chg="mod">
          <ac:chgData name="Wang, Peili" userId="95f81b23-c812-470c-aca8-455e8f0787ab" providerId="ADAL" clId="{BDC275F4-0EB0-4234-BBBE-6A43EB0A4439}" dt="2025-06-09T18:10:37.122" v="111" actId="164"/>
          <ac:grpSpMkLst>
            <pc:docMk/>
            <pc:sldMk cId="1502043866" sldId="2141411715"/>
            <ac:grpSpMk id="9" creationId="{760E3291-8A36-D084-8C7F-465EC1096087}"/>
          </ac:grpSpMkLst>
        </pc:grpChg>
      </pc:sldChg>
      <pc:sldChg chg="addSp delSp modSp mod modTransition modAnim modNotesTx">
        <pc:chgData name="Wang, Peili" userId="95f81b23-c812-470c-aca8-455e8f0787ab" providerId="ADAL" clId="{BDC275F4-0EB0-4234-BBBE-6A43EB0A4439}" dt="2025-06-09T17:56:58.855" v="92"/>
        <pc:sldMkLst>
          <pc:docMk/>
          <pc:sldMk cId="3713982638" sldId="2141411718"/>
        </pc:sldMkLst>
        <pc:spChg chg="mod topLvl">
          <ac:chgData name="Wang, Peili" userId="95f81b23-c812-470c-aca8-455e8f0787ab" providerId="ADAL" clId="{BDC275F4-0EB0-4234-BBBE-6A43EB0A4439}" dt="2025-06-09T17:54:29.579" v="91" actId="164"/>
          <ac:spMkLst>
            <pc:docMk/>
            <pc:sldMk cId="3713982638" sldId="2141411718"/>
            <ac:spMk id="7" creationId="{FE2C77B5-6A20-BAF6-06F9-BDD1384D1BED}"/>
          </ac:spMkLst>
        </pc:spChg>
        <pc:spChg chg="mod topLvl">
          <ac:chgData name="Wang, Peili" userId="95f81b23-c812-470c-aca8-455e8f0787ab" providerId="ADAL" clId="{BDC275F4-0EB0-4234-BBBE-6A43EB0A4439}" dt="2025-06-09T17:54:04.116" v="84" actId="165"/>
          <ac:spMkLst>
            <pc:docMk/>
            <pc:sldMk cId="3713982638" sldId="2141411718"/>
            <ac:spMk id="18" creationId="{9FB26649-8935-4430-4F62-3C35F4353FF1}"/>
          </ac:spMkLst>
        </pc:spChg>
        <pc:grpChg chg="del">
          <ac:chgData name="Wang, Peili" userId="95f81b23-c812-470c-aca8-455e8f0787ab" providerId="ADAL" clId="{BDC275F4-0EB0-4234-BBBE-6A43EB0A4439}" dt="2025-06-09T17:49:06.143" v="79" actId="165"/>
          <ac:grpSpMkLst>
            <pc:docMk/>
            <pc:sldMk cId="3713982638" sldId="2141411718"/>
            <ac:grpSpMk id="5" creationId="{A2029EDD-5218-AC70-236E-934A065B56D8}"/>
          </ac:grpSpMkLst>
        </pc:grpChg>
        <pc:grpChg chg="add del mod">
          <ac:chgData name="Wang, Peili" userId="95f81b23-c812-470c-aca8-455e8f0787ab" providerId="ADAL" clId="{BDC275F4-0EB0-4234-BBBE-6A43EB0A4439}" dt="2025-06-09T17:54:04.116" v="84" actId="165"/>
          <ac:grpSpMkLst>
            <pc:docMk/>
            <pc:sldMk cId="3713982638" sldId="2141411718"/>
            <ac:grpSpMk id="9" creationId="{2754E2B9-88A8-5FE8-F650-56D843DCD355}"/>
          </ac:grpSpMkLst>
        </pc:grpChg>
        <pc:grpChg chg="add mod">
          <ac:chgData name="Wang, Peili" userId="95f81b23-c812-470c-aca8-455e8f0787ab" providerId="ADAL" clId="{BDC275F4-0EB0-4234-BBBE-6A43EB0A4439}" dt="2025-06-09T17:54:29.579" v="91" actId="164"/>
          <ac:grpSpMkLst>
            <pc:docMk/>
            <pc:sldMk cId="3713982638" sldId="2141411718"/>
            <ac:grpSpMk id="13" creationId="{2EE7CAB9-39A3-D14C-D207-53EDF51FBA2B}"/>
          </ac:grpSpMkLst>
        </pc:grpChg>
        <pc:picChg chg="del mod topLvl">
          <ac:chgData name="Wang, Peili" userId="95f81b23-c812-470c-aca8-455e8f0787ab" providerId="ADAL" clId="{BDC275F4-0EB0-4234-BBBE-6A43EB0A4439}" dt="2025-06-09T17:54:06.054" v="85" actId="478"/>
          <ac:picMkLst>
            <pc:docMk/>
            <pc:sldMk cId="3713982638" sldId="2141411718"/>
            <ac:picMk id="8" creationId="{D3652E36-DE7E-7377-1356-340B3E9BCA1D}"/>
          </ac:picMkLst>
        </pc:picChg>
        <pc:picChg chg="mod topLvl">
          <ac:chgData name="Wang, Peili" userId="95f81b23-c812-470c-aca8-455e8f0787ab" providerId="ADAL" clId="{BDC275F4-0EB0-4234-BBBE-6A43EB0A4439}" dt="2025-06-09T17:54:29.579" v="91" actId="164"/>
          <ac:picMkLst>
            <pc:docMk/>
            <pc:sldMk cId="3713982638" sldId="2141411718"/>
            <ac:picMk id="11" creationId="{DF3F2223-3729-5FCF-87A3-F31569BAF7B5}"/>
          </ac:picMkLst>
        </pc:picChg>
        <pc:picChg chg="add mod">
          <ac:chgData name="Wang, Peili" userId="95f81b23-c812-470c-aca8-455e8f0787ab" providerId="ADAL" clId="{BDC275F4-0EB0-4234-BBBE-6A43EB0A4439}" dt="2025-06-09T17:54:29.579" v="91" actId="164"/>
          <ac:picMkLst>
            <pc:docMk/>
            <pc:sldMk cId="3713982638" sldId="2141411718"/>
            <ac:picMk id="12" creationId="{C5D3BFBA-1B36-3EB1-A1A7-A11A49703AA3}"/>
          </ac:picMkLst>
        </pc:picChg>
      </pc:sldChg>
      <pc:sldChg chg="delSp mod">
        <pc:chgData name="Wang, Peili" userId="95f81b23-c812-470c-aca8-455e8f0787ab" providerId="ADAL" clId="{BDC275F4-0EB0-4234-BBBE-6A43EB0A4439}" dt="2025-06-09T18:33:02.057" v="113" actId="478"/>
        <pc:sldMkLst>
          <pc:docMk/>
          <pc:sldMk cId="2561756632" sldId="2141411724"/>
        </pc:sldMkLst>
        <pc:spChg chg="del">
          <ac:chgData name="Wang, Peili" userId="95f81b23-c812-470c-aca8-455e8f0787ab" providerId="ADAL" clId="{BDC275F4-0EB0-4234-BBBE-6A43EB0A4439}" dt="2025-06-09T18:33:02.057" v="113" actId="478"/>
          <ac:spMkLst>
            <pc:docMk/>
            <pc:sldMk cId="2561756632" sldId="2141411724"/>
            <ac:spMk id="10" creationId="{AFAA669D-0C27-4276-E3E4-C59D3E084D26}"/>
          </ac:spMkLst>
        </pc:spChg>
      </pc:sldChg>
    </pc:docChg>
  </pc:docChgLst>
  <pc:docChgLst>
    <pc:chgData name="Wang, Peili" userId="95f81b23-c812-470c-aca8-455e8f0787ab" providerId="ADAL" clId="{947CC3E1-5CE1-423B-965D-8800B99036E4}"/>
    <pc:docChg chg="undo custSel addSld delSld modSld sldOrd modSection">
      <pc:chgData name="Wang, Peili" userId="95f81b23-c812-470c-aca8-455e8f0787ab" providerId="ADAL" clId="{947CC3E1-5CE1-423B-965D-8800B99036E4}" dt="2025-05-13T22:32:23.118" v="438" actId="14100"/>
      <pc:docMkLst>
        <pc:docMk/>
      </pc:docMkLst>
      <pc:sldChg chg="del">
        <pc:chgData name="Wang, Peili" userId="95f81b23-c812-470c-aca8-455e8f0787ab" providerId="ADAL" clId="{947CC3E1-5CE1-423B-965D-8800B99036E4}" dt="2025-05-13T22:11:44.998" v="34" actId="2696"/>
        <pc:sldMkLst>
          <pc:docMk/>
          <pc:sldMk cId="2368462817" sldId="2141411691"/>
        </pc:sldMkLst>
      </pc:sldChg>
      <pc:sldChg chg="delSp modSp mod">
        <pc:chgData name="Wang, Peili" userId="95f81b23-c812-470c-aca8-455e8f0787ab" providerId="ADAL" clId="{947CC3E1-5CE1-423B-965D-8800B99036E4}" dt="2025-05-13T22:26:46.764" v="183" actId="1076"/>
        <pc:sldMkLst>
          <pc:docMk/>
          <pc:sldMk cId="3156788896" sldId="2141411704"/>
        </pc:sldMkLst>
        <pc:spChg chg="mod">
          <ac:chgData name="Wang, Peili" userId="95f81b23-c812-470c-aca8-455e8f0787ab" providerId="ADAL" clId="{947CC3E1-5CE1-423B-965D-8800B99036E4}" dt="2025-05-13T22:26:35.618" v="180" actId="1076"/>
          <ac:spMkLst>
            <pc:docMk/>
            <pc:sldMk cId="3156788896" sldId="2141411704"/>
            <ac:spMk id="8" creationId="{9E9F5423-B5E2-6821-CBAE-63A6957B1FED}"/>
          </ac:spMkLst>
        </pc:spChg>
        <pc:spChg chg="mod">
          <ac:chgData name="Wang, Peili" userId="95f81b23-c812-470c-aca8-455e8f0787ab" providerId="ADAL" clId="{947CC3E1-5CE1-423B-965D-8800B99036E4}" dt="2025-05-13T22:26:46.764" v="183" actId="1076"/>
          <ac:spMkLst>
            <pc:docMk/>
            <pc:sldMk cId="3156788896" sldId="2141411704"/>
            <ac:spMk id="11" creationId="{9DA040AC-532D-E6DB-0862-74AAB941CAA6}"/>
          </ac:spMkLst>
        </pc:spChg>
        <pc:spChg chg="mod">
          <ac:chgData name="Wang, Peili" userId="95f81b23-c812-470c-aca8-455e8f0787ab" providerId="ADAL" clId="{947CC3E1-5CE1-423B-965D-8800B99036E4}" dt="2025-05-13T22:26:14.930" v="171" actId="1076"/>
          <ac:spMkLst>
            <pc:docMk/>
            <pc:sldMk cId="3156788896" sldId="2141411704"/>
            <ac:spMk id="12" creationId="{44B1EC28-4730-23D0-45DD-3660B973A2A8}"/>
          </ac:spMkLst>
        </pc:spChg>
        <pc:spChg chg="mod">
          <ac:chgData name="Wang, Peili" userId="95f81b23-c812-470c-aca8-455e8f0787ab" providerId="ADAL" clId="{947CC3E1-5CE1-423B-965D-8800B99036E4}" dt="2025-05-13T22:26:32.522" v="179" actId="14100"/>
          <ac:spMkLst>
            <pc:docMk/>
            <pc:sldMk cId="3156788896" sldId="2141411704"/>
            <ac:spMk id="24" creationId="{A78F1C73-528E-D881-D238-9792C623428A}"/>
          </ac:spMkLst>
        </pc:spChg>
        <pc:spChg chg="mod">
          <ac:chgData name="Wang, Peili" userId="95f81b23-c812-470c-aca8-455e8f0787ab" providerId="ADAL" clId="{947CC3E1-5CE1-423B-965D-8800B99036E4}" dt="2025-05-13T22:26:24.906" v="176" actId="1076"/>
          <ac:spMkLst>
            <pc:docMk/>
            <pc:sldMk cId="3156788896" sldId="2141411704"/>
            <ac:spMk id="25" creationId="{9813C2B6-B2AC-8E0D-F01C-256048AEB7E1}"/>
          </ac:spMkLst>
        </pc:spChg>
        <pc:picChg chg="mod">
          <ac:chgData name="Wang, Peili" userId="95f81b23-c812-470c-aca8-455e8f0787ab" providerId="ADAL" clId="{947CC3E1-5CE1-423B-965D-8800B99036E4}" dt="2025-05-13T22:26:38.176" v="181" actId="1076"/>
          <ac:picMkLst>
            <pc:docMk/>
            <pc:sldMk cId="3156788896" sldId="2141411704"/>
            <ac:picMk id="9" creationId="{A0B7BBC5-2193-ACD0-BB41-F5AEB6069A43}"/>
          </ac:picMkLst>
        </pc:picChg>
      </pc:sldChg>
      <pc:sldChg chg="del">
        <pc:chgData name="Wang, Peili" userId="95f81b23-c812-470c-aca8-455e8f0787ab" providerId="ADAL" clId="{947CC3E1-5CE1-423B-965D-8800B99036E4}" dt="2025-05-13T22:11:44.998" v="34" actId="2696"/>
        <pc:sldMkLst>
          <pc:docMk/>
          <pc:sldMk cId="138499851" sldId="2141411705"/>
        </pc:sldMkLst>
      </pc:sldChg>
      <pc:sldChg chg="ord">
        <pc:chgData name="Wang, Peili" userId="95f81b23-c812-470c-aca8-455e8f0787ab" providerId="ADAL" clId="{947CC3E1-5CE1-423B-965D-8800B99036E4}" dt="2025-05-13T22:28:03.065" v="230"/>
        <pc:sldMkLst>
          <pc:docMk/>
          <pc:sldMk cId="2805659684" sldId="2141411706"/>
        </pc:sldMkLst>
      </pc:sldChg>
      <pc:sldChg chg="modSp mod ord">
        <pc:chgData name="Wang, Peili" userId="95f81b23-c812-470c-aca8-455e8f0787ab" providerId="ADAL" clId="{947CC3E1-5CE1-423B-965D-8800B99036E4}" dt="2025-05-13T22:30:25.048" v="390"/>
        <pc:sldMkLst>
          <pc:docMk/>
          <pc:sldMk cId="1003475791" sldId="2141411707"/>
        </pc:sldMkLst>
        <pc:spChg chg="mod">
          <ac:chgData name="Wang, Peili" userId="95f81b23-c812-470c-aca8-455e8f0787ab" providerId="ADAL" clId="{947CC3E1-5CE1-423B-965D-8800B99036E4}" dt="2025-05-13T22:29:16.831" v="291" actId="14100"/>
          <ac:spMkLst>
            <pc:docMk/>
            <pc:sldMk cId="1003475791" sldId="2141411707"/>
            <ac:spMk id="6" creationId="{4CAF94C9-DC97-7B80-7EE5-08BCD9AC511D}"/>
          </ac:spMkLst>
        </pc:spChg>
        <pc:spChg chg="mod">
          <ac:chgData name="Wang, Peili" userId="95f81b23-c812-470c-aca8-455e8f0787ab" providerId="ADAL" clId="{947CC3E1-5CE1-423B-965D-8800B99036E4}" dt="2025-05-13T22:30:01.275" v="388" actId="20577"/>
          <ac:spMkLst>
            <pc:docMk/>
            <pc:sldMk cId="1003475791" sldId="2141411707"/>
            <ac:spMk id="7" creationId="{154C7505-3130-CB4E-C82D-FCDA5A3E38A0}"/>
          </ac:spMkLst>
        </pc:spChg>
      </pc:sldChg>
      <pc:sldChg chg="delSp modSp mod">
        <pc:chgData name="Wang, Peili" userId="95f81b23-c812-470c-aca8-455e8f0787ab" providerId="ADAL" clId="{947CC3E1-5CE1-423B-965D-8800B99036E4}" dt="2025-05-13T22:31:16.893" v="405" actId="478"/>
        <pc:sldMkLst>
          <pc:docMk/>
          <pc:sldMk cId="1784398975" sldId="2141411708"/>
        </pc:sldMkLst>
      </pc:sldChg>
      <pc:sldChg chg="addSp delSp modSp new del mod chgLayout">
        <pc:chgData name="Wang, Peili" userId="95f81b23-c812-470c-aca8-455e8f0787ab" providerId="ADAL" clId="{947CC3E1-5CE1-423B-965D-8800B99036E4}" dt="2025-05-13T20:42:53.272" v="13" actId="47"/>
        <pc:sldMkLst>
          <pc:docMk/>
          <pc:sldMk cId="1147446647" sldId="2141411709"/>
        </pc:sldMkLst>
      </pc:sldChg>
      <pc:sldChg chg="new del">
        <pc:chgData name="Wang, Peili" userId="95f81b23-c812-470c-aca8-455e8f0787ab" providerId="ADAL" clId="{947CC3E1-5CE1-423B-965D-8800B99036E4}" dt="2025-05-13T20:41:19.168" v="1" actId="47"/>
        <pc:sldMkLst>
          <pc:docMk/>
          <pc:sldMk cId="1793608663" sldId="2141411709"/>
        </pc:sldMkLst>
      </pc:sldChg>
      <pc:sldChg chg="addSp delSp modSp new mod">
        <pc:chgData name="Wang, Peili" userId="95f81b23-c812-470c-aca8-455e8f0787ab" providerId="ADAL" clId="{947CC3E1-5CE1-423B-965D-8800B99036E4}" dt="2025-05-13T22:27:06.107" v="219" actId="20577"/>
        <pc:sldMkLst>
          <pc:docMk/>
          <pc:sldMk cId="4143396677" sldId="2141411709"/>
        </pc:sldMkLst>
        <pc:spChg chg="mod">
          <ac:chgData name="Wang, Peili" userId="95f81b23-c812-470c-aca8-455e8f0787ab" providerId="ADAL" clId="{947CC3E1-5CE1-423B-965D-8800B99036E4}" dt="2025-05-13T22:27:06.107" v="219" actId="20577"/>
          <ac:spMkLst>
            <pc:docMk/>
            <pc:sldMk cId="4143396677" sldId="2141411709"/>
            <ac:spMk id="2" creationId="{A1EBD44B-EAA8-3877-6E92-26A75199A758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145" creationId="{829F0320-6CC1-092D-33F3-1963EEBCE9BB}"/>
          </ac:spMkLst>
        </pc:spChg>
        <pc:spChg chg="mod">
          <ac:chgData name="Wang, Peili" userId="95f81b23-c812-470c-aca8-455e8f0787ab" providerId="ADAL" clId="{947CC3E1-5CE1-423B-965D-8800B99036E4}" dt="2025-05-13T20:44:10.067" v="30" actId="20577"/>
          <ac:spMkLst>
            <pc:docMk/>
            <pc:sldMk cId="4143396677" sldId="2141411709"/>
            <ac:spMk id="152" creationId="{6F702112-0595-C03D-DDAB-4880913E74FC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158" creationId="{DBE26AA5-EBCA-1FEF-1B85-F12617C64B61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167" creationId="{55B2412C-61FD-E89D-0D16-E4C4F0779D40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186" creationId="{F36A7522-9CEB-5B93-D262-11B7B251F69B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201" creationId="{F758B73C-8D8B-FF99-200B-9DA7C198B360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202" creationId="{14BF82D8-FB43-27A4-D1B2-64B0BA7F17E8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205" creationId="{94D7CF6A-2835-A345-619D-EC7CF56104DB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242" creationId="{10E69211-FCE1-42F2-8EBA-DAB6B1E83630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244" creationId="{298ED7EA-1B8E-5A9A-7CBC-E93EF933938E}"/>
          </ac:spMkLst>
        </pc:spChg>
        <pc:spChg chg="mod">
          <ac:chgData name="Wang, Peili" userId="95f81b23-c812-470c-aca8-455e8f0787ab" providerId="ADAL" clId="{947CC3E1-5CE1-423B-965D-8800B99036E4}" dt="2025-05-13T22:15:06.236" v="65" actId="108"/>
          <ac:spMkLst>
            <pc:docMk/>
            <pc:sldMk cId="4143396677" sldId="2141411709"/>
            <ac:spMk id="246" creationId="{37C01FFB-C16A-6FEE-6B8B-2798D13C6D0B}"/>
          </ac:spMkLst>
        </pc:spChg>
        <pc:spChg chg="mod topLvl">
          <ac:chgData name="Wang, Peili" userId="95f81b23-c812-470c-aca8-455e8f0787ab" providerId="ADAL" clId="{947CC3E1-5CE1-423B-965D-8800B99036E4}" dt="2025-05-13T22:15:34.992" v="72" actId="165"/>
          <ac:spMkLst>
            <pc:docMk/>
            <pc:sldMk cId="4143396677" sldId="2141411709"/>
            <ac:spMk id="279" creationId="{C47899B5-65B4-668B-35C0-77C47E984C6D}"/>
          </ac:spMkLst>
        </pc:spChg>
        <pc:spChg chg="mod">
          <ac:chgData name="Wang, Peili" userId="95f81b23-c812-470c-aca8-455e8f0787ab" providerId="ADAL" clId="{947CC3E1-5CE1-423B-965D-8800B99036E4}" dt="2025-05-13T22:15:40.370" v="73" actId="165"/>
          <ac:spMkLst>
            <pc:docMk/>
            <pc:sldMk cId="4143396677" sldId="2141411709"/>
            <ac:spMk id="293" creationId="{1B190C7B-7492-658D-9B9A-2271713F4775}"/>
          </ac:spMkLst>
        </pc:spChg>
        <pc:spChg chg="mod">
          <ac:chgData name="Wang, Peili" userId="95f81b23-c812-470c-aca8-455e8f0787ab" providerId="ADAL" clId="{947CC3E1-5CE1-423B-965D-8800B99036E4}" dt="2025-05-13T22:15:40.370" v="73" actId="165"/>
          <ac:spMkLst>
            <pc:docMk/>
            <pc:sldMk cId="4143396677" sldId="2141411709"/>
            <ac:spMk id="294" creationId="{B0B8F1BA-19C1-B592-8758-AAB2001057A3}"/>
          </ac:spMkLst>
        </pc:spChg>
        <pc:spChg chg="mod">
          <ac:chgData name="Wang, Peili" userId="95f81b23-c812-470c-aca8-455e8f0787ab" providerId="ADAL" clId="{947CC3E1-5CE1-423B-965D-8800B99036E4}" dt="2025-05-13T22:22:10.468" v="103" actId="1076"/>
          <ac:spMkLst>
            <pc:docMk/>
            <pc:sldMk cId="4143396677" sldId="2141411709"/>
            <ac:spMk id="295" creationId="{032BC1BE-4EF1-FBFD-3508-8A0979682A9D}"/>
          </ac:spMkLst>
        </pc:spChg>
        <pc:spChg chg="mod">
          <ac:chgData name="Wang, Peili" userId="95f81b23-c812-470c-aca8-455e8f0787ab" providerId="ADAL" clId="{947CC3E1-5CE1-423B-965D-8800B99036E4}" dt="2025-05-13T22:22:13.966" v="105" actId="1076"/>
          <ac:spMkLst>
            <pc:docMk/>
            <pc:sldMk cId="4143396677" sldId="2141411709"/>
            <ac:spMk id="296" creationId="{718A3275-4E75-A358-B188-50A246FDEE54}"/>
          </ac:spMkLst>
        </pc:spChg>
        <pc:spChg chg="mod">
          <ac:chgData name="Wang, Peili" userId="95f81b23-c812-470c-aca8-455e8f0787ab" providerId="ADAL" clId="{947CC3E1-5CE1-423B-965D-8800B99036E4}" dt="2025-05-13T22:22:12.118" v="104" actId="1076"/>
          <ac:spMkLst>
            <pc:docMk/>
            <pc:sldMk cId="4143396677" sldId="2141411709"/>
            <ac:spMk id="299" creationId="{FADA9E40-C589-5F9E-FE37-4FA55E5C2575}"/>
          </ac:spMkLst>
        </pc:spChg>
        <pc:grpChg chg="add del mod">
          <ac:chgData name="Wang, Peili" userId="95f81b23-c812-470c-aca8-455e8f0787ab" providerId="ADAL" clId="{947CC3E1-5CE1-423B-965D-8800B99036E4}" dt="2025-05-13T22:23:04.571" v="137" actId="478"/>
          <ac:grpSpMkLst>
            <pc:docMk/>
            <pc:sldMk cId="4143396677" sldId="2141411709"/>
            <ac:grpSpMk id="143" creationId="{17F0772A-9D03-DB47-61EA-7936C5ABC164}"/>
          </ac:grpSpMkLst>
        </pc:grpChg>
        <pc:picChg chg="mod">
          <ac:chgData name="Wang, Peili" userId="95f81b23-c812-470c-aca8-455e8f0787ab" providerId="ADAL" clId="{947CC3E1-5CE1-423B-965D-8800B99036E4}" dt="2025-05-13T22:15:34.992" v="72" actId="165"/>
          <ac:picMkLst>
            <pc:docMk/>
            <pc:sldMk cId="4143396677" sldId="2141411709"/>
            <ac:picMk id="285" creationId="{ADCFA474-F4F3-8A35-0DF7-3953181B3478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289" creationId="{A0A238FA-75CF-2834-AB1D-498FA09812E3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290" creationId="{7518C3B9-95BF-1335-6417-F1A2AFFF9A0A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291" creationId="{EF576947-1296-C33E-83AB-2D76D377B397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298" creationId="{038AD54C-7D21-F883-D82A-3FF9122A4706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300" creationId="{E30DD47F-0A90-AAB6-114E-6E0F72BD1DCA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301" creationId="{03738A3A-087B-DFDA-C1A7-55CF4F9C7E57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302" creationId="{51E25CD3-A29A-FE0B-0E07-82820AB613C2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303" creationId="{0078FE27-42BD-AC5B-BD1C-B911AE5A6C3B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310" creationId="{2D0D7A84-A7DA-D1CD-9643-66EE0763ADB9}"/>
          </ac:picMkLst>
        </pc:picChg>
        <pc:picChg chg="mod">
          <ac:chgData name="Wang, Peili" userId="95f81b23-c812-470c-aca8-455e8f0787ab" providerId="ADAL" clId="{947CC3E1-5CE1-423B-965D-8800B99036E4}" dt="2025-05-13T22:15:52.605" v="75" actId="108"/>
          <ac:picMkLst>
            <pc:docMk/>
            <pc:sldMk cId="4143396677" sldId="2141411709"/>
            <ac:picMk id="311" creationId="{7C7AA9F9-53FF-E07A-B5A4-091B8701F3EF}"/>
          </ac:picMkLst>
        </pc:picChg>
        <pc:cxnChg chg="add mod">
          <ac:chgData name="Wang, Peili" userId="95f81b23-c812-470c-aca8-455e8f0787ab" providerId="ADAL" clId="{947CC3E1-5CE1-423B-965D-8800B99036E4}" dt="2025-05-13T22:20:05.404" v="83" actId="1076"/>
          <ac:cxnSpMkLst>
            <pc:docMk/>
            <pc:sldMk cId="4143396677" sldId="2141411709"/>
            <ac:cxnSpMk id="313" creationId="{0B6FBA12-B7C3-9C9C-B521-AB3047C98622}"/>
          </ac:cxnSpMkLst>
        </pc:cxnChg>
        <pc:cxnChg chg="add mod">
          <ac:chgData name="Wang, Peili" userId="95f81b23-c812-470c-aca8-455e8f0787ab" providerId="ADAL" clId="{947CC3E1-5CE1-423B-965D-8800B99036E4}" dt="2025-05-13T22:20:07.980" v="85" actId="1076"/>
          <ac:cxnSpMkLst>
            <pc:docMk/>
            <pc:sldMk cId="4143396677" sldId="2141411709"/>
            <ac:cxnSpMk id="314" creationId="{CB33B44A-9822-4308-EF91-21E1D83E3832}"/>
          </ac:cxnSpMkLst>
        </pc:cxnChg>
        <pc:cxnChg chg="add mod">
          <ac:chgData name="Wang, Peili" userId="95f81b23-c812-470c-aca8-455e8f0787ab" providerId="ADAL" clId="{947CC3E1-5CE1-423B-965D-8800B99036E4}" dt="2025-05-13T22:20:11.674" v="87" actId="1076"/>
          <ac:cxnSpMkLst>
            <pc:docMk/>
            <pc:sldMk cId="4143396677" sldId="2141411709"/>
            <ac:cxnSpMk id="315" creationId="{04FA38D3-648A-95B8-9F8D-FE4DFDBF6174}"/>
          </ac:cxnSpMkLst>
        </pc:cxnChg>
        <pc:cxnChg chg="add mod">
          <ac:chgData name="Wang, Peili" userId="95f81b23-c812-470c-aca8-455e8f0787ab" providerId="ADAL" clId="{947CC3E1-5CE1-423B-965D-8800B99036E4}" dt="2025-05-13T22:20:14.682" v="89" actId="1076"/>
          <ac:cxnSpMkLst>
            <pc:docMk/>
            <pc:sldMk cId="4143396677" sldId="2141411709"/>
            <ac:cxnSpMk id="316" creationId="{7328AA09-2193-4B5A-7C27-011C5F08F572}"/>
          </ac:cxnSpMkLst>
        </pc:cxnChg>
        <pc:cxnChg chg="add mod">
          <ac:chgData name="Wang, Peili" userId="95f81b23-c812-470c-aca8-455e8f0787ab" providerId="ADAL" clId="{947CC3E1-5CE1-423B-965D-8800B99036E4}" dt="2025-05-13T22:20:17.885" v="91" actId="1076"/>
          <ac:cxnSpMkLst>
            <pc:docMk/>
            <pc:sldMk cId="4143396677" sldId="2141411709"/>
            <ac:cxnSpMk id="317" creationId="{DD7C9DC5-0B2C-C7EB-B4BA-A2A6EAAF26BE}"/>
          </ac:cxnSpMkLst>
        </pc:cxnChg>
        <pc:cxnChg chg="add mod">
          <ac:chgData name="Wang, Peili" userId="95f81b23-c812-470c-aca8-455e8f0787ab" providerId="ADAL" clId="{947CC3E1-5CE1-423B-965D-8800B99036E4}" dt="2025-05-13T22:20:21.003" v="93" actId="1076"/>
          <ac:cxnSpMkLst>
            <pc:docMk/>
            <pc:sldMk cId="4143396677" sldId="2141411709"/>
            <ac:cxnSpMk id="318" creationId="{BD11EBB5-142D-517E-596A-280A29E83A0A}"/>
          </ac:cxnSpMkLst>
        </pc:cxnChg>
        <pc:cxnChg chg="add mod">
          <ac:chgData name="Wang, Peili" userId="95f81b23-c812-470c-aca8-455e8f0787ab" providerId="ADAL" clId="{947CC3E1-5CE1-423B-965D-8800B99036E4}" dt="2025-05-13T22:23:43.634" v="146" actId="1076"/>
          <ac:cxnSpMkLst>
            <pc:docMk/>
            <pc:sldMk cId="4143396677" sldId="2141411709"/>
            <ac:cxnSpMk id="459" creationId="{D5B295CF-A28B-2860-7AEE-6F12F7434BDD}"/>
          </ac:cxnSpMkLst>
        </pc:cxnChg>
        <pc:cxnChg chg="add mod">
          <ac:chgData name="Wang, Peili" userId="95f81b23-c812-470c-aca8-455e8f0787ab" providerId="ADAL" clId="{947CC3E1-5CE1-423B-965D-8800B99036E4}" dt="2025-05-13T22:23:49.851" v="148" actId="1076"/>
          <ac:cxnSpMkLst>
            <pc:docMk/>
            <pc:sldMk cId="4143396677" sldId="2141411709"/>
            <ac:cxnSpMk id="460" creationId="{C361C1C6-6672-A416-BDDA-DC5BEC2EE759}"/>
          </ac:cxnSpMkLst>
        </pc:cxnChg>
      </pc:sldChg>
      <pc:sldChg chg="addSp delSp modSp new mod ord">
        <pc:chgData name="Wang, Peili" userId="95f81b23-c812-470c-aca8-455e8f0787ab" providerId="ADAL" clId="{947CC3E1-5CE1-423B-965D-8800B99036E4}" dt="2025-05-13T22:32:23.118" v="438" actId="14100"/>
        <pc:sldMkLst>
          <pc:docMk/>
          <pc:sldMk cId="3740605019" sldId="2141411710"/>
        </pc:sldMkLst>
      </pc:sldChg>
    </pc:docChg>
  </pc:docChgLst>
  <pc:docChgLst>
    <pc:chgData name="Wang, Peili" userId="S::wangp103@pfizer.com::95f81b23-c812-470c-aca8-455e8f0787ab" providerId="AD" clId="Web-{6EE91668-C14B-A1E0-B208-BDB9FF60D1F8}"/>
    <pc:docChg chg="modSld">
      <pc:chgData name="Wang, Peili" userId="S::wangp103@pfizer.com::95f81b23-c812-470c-aca8-455e8f0787ab" providerId="AD" clId="Web-{6EE91668-C14B-A1E0-B208-BDB9FF60D1F8}" dt="2025-05-15T13:25:36.529" v="20"/>
      <pc:docMkLst>
        <pc:docMk/>
      </pc:docMkLst>
      <pc:sldChg chg="delSp modSp">
        <pc:chgData name="Wang, Peili" userId="S::wangp103@pfizer.com::95f81b23-c812-470c-aca8-455e8f0787ab" providerId="AD" clId="Web-{6EE91668-C14B-A1E0-B208-BDB9FF60D1F8}" dt="2025-05-14T21:25:01.623" v="2"/>
        <pc:sldMkLst>
          <pc:docMk/>
          <pc:sldMk cId="1003475791" sldId="2141411707"/>
        </pc:sldMkLst>
      </pc:sldChg>
      <pc:sldChg chg="addSp delSp modSp">
        <pc:chgData name="Wang, Peili" userId="S::wangp103@pfizer.com::95f81b23-c812-470c-aca8-455e8f0787ab" providerId="AD" clId="Web-{6EE91668-C14B-A1E0-B208-BDB9FF60D1F8}" dt="2025-05-15T13:25:36.529" v="20"/>
        <pc:sldMkLst>
          <pc:docMk/>
          <pc:sldMk cId="4143396677" sldId="2141411709"/>
        </pc:sldMkLst>
        <pc:spChg chg="mod">
          <ac:chgData name="Wang, Peili" userId="S::wangp103@pfizer.com::95f81b23-c812-470c-aca8-455e8f0787ab" providerId="AD" clId="Web-{6EE91668-C14B-A1E0-B208-BDB9FF60D1F8}" dt="2025-05-15T13:25:25.357" v="16" actId="20577"/>
          <ac:spMkLst>
            <pc:docMk/>
            <pc:sldMk cId="4143396677" sldId="2141411709"/>
            <ac:spMk id="2" creationId="{A1EBD44B-EAA8-3877-6E92-26A75199A758}"/>
          </ac:spMkLst>
        </pc:spChg>
      </pc:sldChg>
      <pc:sldChg chg="addSp delSp modSp">
        <pc:chgData name="Wang, Peili" userId="S::wangp103@pfizer.com::95f81b23-c812-470c-aca8-455e8f0787ab" providerId="AD" clId="Web-{6EE91668-C14B-A1E0-B208-BDB9FF60D1F8}" dt="2025-05-14T22:12:31.003" v="14" actId="1076"/>
        <pc:sldMkLst>
          <pc:docMk/>
          <pc:sldMk cId="3740605019" sldId="2141411710"/>
        </pc:sldMkLst>
        <pc:picChg chg="add mod ord">
          <ac:chgData name="Wang, Peili" userId="S::wangp103@pfizer.com::95f81b23-c812-470c-aca8-455e8f0787ab" providerId="AD" clId="Web-{6EE91668-C14B-A1E0-B208-BDB9FF60D1F8}" dt="2025-05-14T22:12:31.003" v="14" actId="1076"/>
          <ac:picMkLst>
            <pc:docMk/>
            <pc:sldMk cId="3740605019" sldId="2141411710"/>
            <ac:picMk id="15" creationId="{A4A10422-D0E8-B1ED-1399-8920F56D638A}"/>
          </ac:picMkLst>
        </pc:picChg>
      </pc:sldChg>
    </pc:docChg>
  </pc:docChgLst>
  <pc:docChgLst>
    <pc:chgData name="Wang, Peili" userId="95f81b23-c812-470c-aca8-455e8f0787ab" providerId="ADAL" clId="{54DD55C6-4162-4920-B82F-F135B583242B}"/>
    <pc:docChg chg="modSld">
      <pc:chgData name="Wang, Peili" userId="95f81b23-c812-470c-aca8-455e8f0787ab" providerId="ADAL" clId="{54DD55C6-4162-4920-B82F-F135B583242B}" dt="2025-06-10T14:22:56.550" v="0" actId="1076"/>
      <pc:docMkLst>
        <pc:docMk/>
      </pc:docMkLst>
      <pc:sldChg chg="modSp mod">
        <pc:chgData name="Wang, Peili" userId="95f81b23-c812-470c-aca8-455e8f0787ab" providerId="ADAL" clId="{54DD55C6-4162-4920-B82F-F135B583242B}" dt="2025-06-10T14:22:56.550" v="0" actId="1076"/>
        <pc:sldMkLst>
          <pc:docMk/>
          <pc:sldMk cId="2561756632" sldId="2141411724"/>
        </pc:sldMkLst>
        <pc:spChg chg="mod">
          <ac:chgData name="Wang, Peili" userId="95f81b23-c812-470c-aca8-455e8f0787ab" providerId="ADAL" clId="{54DD55C6-4162-4920-B82F-F135B583242B}" dt="2025-06-10T14:22:56.550" v="0" actId="1076"/>
          <ac:spMkLst>
            <pc:docMk/>
            <pc:sldMk cId="2561756632" sldId="2141411724"/>
            <ac:spMk id="5" creationId="{E0706DA4-6234-CAE9-F351-8CC8314ED916}"/>
          </ac:spMkLst>
        </pc:spChg>
      </pc:sldChg>
    </pc:docChg>
  </pc:docChgLst>
  <pc:docChgLst>
    <pc:chgData name="Wang, Peili" userId="95f81b23-c812-470c-aca8-455e8f0787ab" providerId="ADAL" clId="{7954F60E-803D-4549-AEA1-99CAA9C7CE10}"/>
    <pc:docChg chg="undo custSel addSld delSld modSld sldOrd modSection">
      <pc:chgData name="Wang, Peili" userId="95f81b23-c812-470c-aca8-455e8f0787ab" providerId="ADAL" clId="{7954F60E-803D-4549-AEA1-99CAA9C7CE10}" dt="2025-05-15T20:49:14.343" v="2977" actId="113"/>
      <pc:docMkLst>
        <pc:docMk/>
      </pc:docMkLst>
      <pc:sldChg chg="modSp mod">
        <pc:chgData name="Wang, Peili" userId="95f81b23-c812-470c-aca8-455e8f0787ab" providerId="ADAL" clId="{7954F60E-803D-4549-AEA1-99CAA9C7CE10}" dt="2025-05-15T15:45:52.320" v="44" actId="113"/>
        <pc:sldMkLst>
          <pc:docMk/>
          <pc:sldMk cId="1646108350" sldId="256"/>
        </pc:sldMkLst>
        <pc:spChg chg="mod">
          <ac:chgData name="Wang, Peili" userId="95f81b23-c812-470c-aca8-455e8f0787ab" providerId="ADAL" clId="{7954F60E-803D-4549-AEA1-99CAA9C7CE10}" dt="2025-05-15T15:45:52.320" v="44" actId="113"/>
          <ac:spMkLst>
            <pc:docMk/>
            <pc:sldMk cId="1646108350" sldId="256"/>
            <ac:spMk id="3" creationId="{E1796B25-30E6-B34F-5D85-18062BF18782}"/>
          </ac:spMkLst>
        </pc:spChg>
      </pc:sldChg>
      <pc:sldChg chg="modSp del mod ord">
        <pc:chgData name="Wang, Peili" userId="95f81b23-c812-470c-aca8-455e8f0787ab" providerId="ADAL" clId="{7954F60E-803D-4549-AEA1-99CAA9C7CE10}" dt="2025-05-15T16:22:19.500" v="738" actId="2696"/>
        <pc:sldMkLst>
          <pc:docMk/>
          <pc:sldMk cId="1474093788" sldId="2141411662"/>
        </pc:sldMkLst>
      </pc:sldChg>
      <pc:sldChg chg="modSp mod">
        <pc:chgData name="Wang, Peili" userId="95f81b23-c812-470c-aca8-455e8f0787ab" providerId="ADAL" clId="{7954F60E-803D-4549-AEA1-99CAA9C7CE10}" dt="2025-05-15T20:03:32.304" v="2787" actId="20577"/>
        <pc:sldMkLst>
          <pc:docMk/>
          <pc:sldMk cId="3957938303" sldId="2141411664"/>
        </pc:sldMkLst>
      </pc:sldChg>
      <pc:sldChg chg="addSp delSp modSp mod modNotesTx">
        <pc:chgData name="Wang, Peili" userId="95f81b23-c812-470c-aca8-455e8f0787ab" providerId="ADAL" clId="{7954F60E-803D-4549-AEA1-99CAA9C7CE10}" dt="2025-05-15T20:46:54.705" v="2961" actId="20577"/>
        <pc:sldMkLst>
          <pc:docMk/>
          <pc:sldMk cId="3330329049" sldId="2141411697"/>
        </pc:sldMkLst>
        <pc:spChg chg="mod">
          <ac:chgData name="Wang, Peili" userId="95f81b23-c812-470c-aca8-455e8f0787ab" providerId="ADAL" clId="{7954F60E-803D-4549-AEA1-99CAA9C7CE10}" dt="2025-05-15T20:46:37.479" v="2956" actId="6549"/>
          <ac:spMkLst>
            <pc:docMk/>
            <pc:sldMk cId="3330329049" sldId="2141411697"/>
            <ac:spMk id="3" creationId="{5FD01B92-9C8F-C085-EEB2-BA204B45D355}"/>
          </ac:spMkLst>
        </pc:spChg>
      </pc:sldChg>
      <pc:sldChg chg="modSp mod">
        <pc:chgData name="Wang, Peili" userId="95f81b23-c812-470c-aca8-455e8f0787ab" providerId="ADAL" clId="{7954F60E-803D-4549-AEA1-99CAA9C7CE10}" dt="2025-05-15T20:13:02.522" v="2899" actId="6549"/>
        <pc:sldMkLst>
          <pc:docMk/>
          <pc:sldMk cId="231990289" sldId="2141411701"/>
        </pc:sldMkLst>
        <pc:spChg chg="mod">
          <ac:chgData name="Wang, Peili" userId="95f81b23-c812-470c-aca8-455e8f0787ab" providerId="ADAL" clId="{7954F60E-803D-4549-AEA1-99CAA9C7CE10}" dt="2025-05-15T20:13:02.522" v="2899" actId="6549"/>
          <ac:spMkLst>
            <pc:docMk/>
            <pc:sldMk cId="231990289" sldId="2141411701"/>
            <ac:spMk id="7" creationId="{73CA1D66-77EC-490C-65F1-2712B8D86F0D}"/>
          </ac:spMkLst>
        </pc:spChg>
      </pc:sldChg>
      <pc:sldChg chg="modSp modNotesTx">
        <pc:chgData name="Wang, Peili" userId="95f81b23-c812-470c-aca8-455e8f0787ab" providerId="ADAL" clId="{7954F60E-803D-4549-AEA1-99CAA9C7CE10}" dt="2025-05-15T18:11:00.370" v="1177"/>
        <pc:sldMkLst>
          <pc:docMk/>
          <pc:sldMk cId="2528523666" sldId="2141411702"/>
        </pc:sldMkLst>
        <pc:graphicFrameChg chg="mod">
          <ac:chgData name="Wang, Peili" userId="95f81b23-c812-470c-aca8-455e8f0787ab" providerId="ADAL" clId="{7954F60E-803D-4549-AEA1-99CAA9C7CE10}" dt="2025-05-15T18:11:00.370" v="1177"/>
          <ac:graphicFrameMkLst>
            <pc:docMk/>
            <pc:sldMk cId="2528523666" sldId="2141411702"/>
            <ac:graphicFrameMk id="5" creationId="{611B0220-7531-75BD-D2D0-A79C65E9C684}"/>
          </ac:graphicFrameMkLst>
        </pc:graphicFrameChg>
      </pc:sldChg>
      <pc:sldChg chg="addSp delSp modSp mod">
        <pc:chgData name="Wang, Peili" userId="95f81b23-c812-470c-aca8-455e8f0787ab" providerId="ADAL" clId="{7954F60E-803D-4549-AEA1-99CAA9C7CE10}" dt="2025-05-15T19:47:23.891" v="2291" actId="20577"/>
        <pc:sldMkLst>
          <pc:docMk/>
          <pc:sldMk cId="3156788896" sldId="2141411704"/>
        </pc:sldMkLst>
        <pc:spChg chg="mod">
          <ac:chgData name="Wang, Peili" userId="95f81b23-c812-470c-aca8-455e8f0787ab" providerId="ADAL" clId="{7954F60E-803D-4549-AEA1-99CAA9C7CE10}" dt="2025-05-15T18:21:26.734" v="1217" actId="20577"/>
          <ac:spMkLst>
            <pc:docMk/>
            <pc:sldMk cId="3156788896" sldId="2141411704"/>
            <ac:spMk id="2" creationId="{A7B09C61-C593-BFC7-F90D-D175EFFDA2E0}"/>
          </ac:spMkLst>
        </pc:spChg>
        <pc:spChg chg="add mod">
          <ac:chgData name="Wang, Peili" userId="95f81b23-c812-470c-aca8-455e8f0787ab" providerId="ADAL" clId="{7954F60E-803D-4549-AEA1-99CAA9C7CE10}" dt="2025-05-15T19:39:25.960" v="2022" actId="14100"/>
          <ac:spMkLst>
            <pc:docMk/>
            <pc:sldMk cId="3156788896" sldId="2141411704"/>
            <ac:spMk id="3" creationId="{0961EC0E-E089-E987-E3B0-EED8A2CAB0D6}"/>
          </ac:spMkLst>
        </pc:spChg>
        <pc:spChg chg="add mod">
          <ac:chgData name="Wang, Peili" userId="95f81b23-c812-470c-aca8-455e8f0787ab" providerId="ADAL" clId="{7954F60E-803D-4549-AEA1-99CAA9C7CE10}" dt="2025-05-15T18:38:28.633" v="1648" actId="14100"/>
          <ac:spMkLst>
            <pc:docMk/>
            <pc:sldMk cId="3156788896" sldId="2141411704"/>
            <ac:spMk id="5" creationId="{516CF725-3F41-D018-5B70-F3DB2AFDE39B}"/>
          </ac:spMkLst>
        </pc:spChg>
        <pc:spChg chg="add mod">
          <ac:chgData name="Wang, Peili" userId="95f81b23-c812-470c-aca8-455e8f0787ab" providerId="ADAL" clId="{7954F60E-803D-4549-AEA1-99CAA9C7CE10}" dt="2025-05-15T18:38:43.447" v="1652" actId="1076"/>
          <ac:spMkLst>
            <pc:docMk/>
            <pc:sldMk cId="3156788896" sldId="2141411704"/>
            <ac:spMk id="6" creationId="{35A5CAAC-0B73-7824-D623-DF4412A43422}"/>
          </ac:spMkLst>
        </pc:spChg>
        <pc:spChg chg="mod">
          <ac:chgData name="Wang, Peili" userId="95f81b23-c812-470c-aca8-455e8f0787ab" providerId="ADAL" clId="{7954F60E-803D-4549-AEA1-99CAA9C7CE10}" dt="2025-05-15T18:38:02.868" v="1637" actId="14100"/>
          <ac:spMkLst>
            <pc:docMk/>
            <pc:sldMk cId="3156788896" sldId="2141411704"/>
            <ac:spMk id="11" creationId="{9DA040AC-532D-E6DB-0862-74AAB941CAA6}"/>
          </ac:spMkLst>
        </pc:spChg>
        <pc:spChg chg="mod">
          <ac:chgData name="Wang, Peili" userId="95f81b23-c812-470c-aca8-455e8f0787ab" providerId="ADAL" clId="{7954F60E-803D-4549-AEA1-99CAA9C7CE10}" dt="2025-05-15T18:38:06.221" v="1638" actId="1076"/>
          <ac:spMkLst>
            <pc:docMk/>
            <pc:sldMk cId="3156788896" sldId="2141411704"/>
            <ac:spMk id="12" creationId="{44B1EC28-4730-23D0-45DD-3660B973A2A8}"/>
          </ac:spMkLst>
        </pc:spChg>
        <pc:spChg chg="mod">
          <ac:chgData name="Wang, Peili" userId="95f81b23-c812-470c-aca8-455e8f0787ab" providerId="ADAL" clId="{7954F60E-803D-4549-AEA1-99CAA9C7CE10}" dt="2025-05-15T19:45:43.511" v="2231" actId="20577"/>
          <ac:spMkLst>
            <pc:docMk/>
            <pc:sldMk cId="3156788896" sldId="2141411704"/>
            <ac:spMk id="24" creationId="{A78F1C73-528E-D881-D238-9792C623428A}"/>
          </ac:spMkLst>
        </pc:spChg>
        <pc:spChg chg="mod">
          <ac:chgData name="Wang, Peili" userId="95f81b23-c812-470c-aca8-455e8f0787ab" providerId="ADAL" clId="{7954F60E-803D-4549-AEA1-99CAA9C7CE10}" dt="2025-05-15T19:47:23.891" v="2291" actId="20577"/>
          <ac:spMkLst>
            <pc:docMk/>
            <pc:sldMk cId="3156788896" sldId="2141411704"/>
            <ac:spMk id="25" creationId="{9813C2B6-B2AC-8E0D-F01C-256048AEB7E1}"/>
          </ac:spMkLst>
        </pc:spChg>
        <pc:picChg chg="mod">
          <ac:chgData name="Wang, Peili" userId="95f81b23-c812-470c-aca8-455e8f0787ab" providerId="ADAL" clId="{7954F60E-803D-4549-AEA1-99CAA9C7CE10}" dt="2025-05-15T18:38:12.056" v="1641" actId="1076"/>
          <ac:picMkLst>
            <pc:docMk/>
            <pc:sldMk cId="3156788896" sldId="2141411704"/>
            <ac:picMk id="9" creationId="{A0B7BBC5-2193-ACD0-BB41-F5AEB6069A43}"/>
          </ac:picMkLst>
        </pc:picChg>
      </pc:sldChg>
      <pc:sldChg chg="modSp mod">
        <pc:chgData name="Wang, Peili" userId="95f81b23-c812-470c-aca8-455e8f0787ab" providerId="ADAL" clId="{7954F60E-803D-4549-AEA1-99CAA9C7CE10}" dt="2025-05-15T19:55:57.637" v="2639" actId="20577"/>
        <pc:sldMkLst>
          <pc:docMk/>
          <pc:sldMk cId="1003475791" sldId="2141411707"/>
        </pc:sldMkLst>
        <pc:spChg chg="mod">
          <ac:chgData name="Wang, Peili" userId="95f81b23-c812-470c-aca8-455e8f0787ab" providerId="ADAL" clId="{7954F60E-803D-4549-AEA1-99CAA9C7CE10}" dt="2025-05-15T19:55:57.637" v="2639" actId="20577"/>
          <ac:spMkLst>
            <pc:docMk/>
            <pc:sldMk cId="1003475791" sldId="2141411707"/>
            <ac:spMk id="6" creationId="{4CAF94C9-DC97-7B80-7EE5-08BCD9AC511D}"/>
          </ac:spMkLst>
        </pc:spChg>
        <pc:spChg chg="mod">
          <ac:chgData name="Wang, Peili" userId="95f81b23-c812-470c-aca8-455e8f0787ab" providerId="ADAL" clId="{7954F60E-803D-4549-AEA1-99CAA9C7CE10}" dt="2025-05-15T19:55:03.884" v="2603" actId="20577"/>
          <ac:spMkLst>
            <pc:docMk/>
            <pc:sldMk cId="1003475791" sldId="2141411707"/>
            <ac:spMk id="7" creationId="{154C7505-3130-CB4E-C82D-FCDA5A3E38A0}"/>
          </ac:spMkLst>
        </pc:spChg>
      </pc:sldChg>
      <pc:sldChg chg="addSp delSp modSp add del mod ord modClrScheme chgLayout modNotesTx">
        <pc:chgData name="Wang, Peili" userId="95f81b23-c812-470c-aca8-455e8f0787ab" providerId="ADAL" clId="{7954F60E-803D-4549-AEA1-99CAA9C7CE10}" dt="2025-05-15T18:56:23.323" v="1979"/>
        <pc:sldMkLst>
          <pc:docMk/>
          <pc:sldMk cId="1784398975" sldId="2141411708"/>
        </pc:sldMkLst>
      </pc:sldChg>
      <pc:sldChg chg="addSp delSp modSp mod modNotesTx">
        <pc:chgData name="Wang, Peili" userId="95f81b23-c812-470c-aca8-455e8f0787ab" providerId="ADAL" clId="{7954F60E-803D-4549-AEA1-99CAA9C7CE10}" dt="2025-05-15T18:25:29.109" v="1294" actId="20577"/>
        <pc:sldMkLst>
          <pc:docMk/>
          <pc:sldMk cId="4143396677" sldId="2141411709"/>
        </pc:sldMkLst>
        <pc:spChg chg="mod">
          <ac:chgData name="Wang, Peili" userId="95f81b23-c812-470c-aca8-455e8f0787ab" providerId="ADAL" clId="{7954F60E-803D-4549-AEA1-99CAA9C7CE10}" dt="2025-05-15T15:50:53.371" v="174" actId="20577"/>
          <ac:spMkLst>
            <pc:docMk/>
            <pc:sldMk cId="4143396677" sldId="2141411709"/>
            <ac:spMk id="2" creationId="{A1EBD44B-EAA8-3877-6E92-26A75199A758}"/>
          </ac:spMkLst>
        </pc:spChg>
        <pc:spChg chg="mod">
          <ac:chgData name="Wang, Peili" userId="95f81b23-c812-470c-aca8-455e8f0787ab" providerId="ADAL" clId="{7954F60E-803D-4549-AEA1-99CAA9C7CE10}" dt="2025-05-15T16:04:19.091" v="294" actId="1076"/>
          <ac:spMkLst>
            <pc:docMk/>
            <pc:sldMk cId="4143396677" sldId="2141411709"/>
            <ac:spMk id="296" creationId="{718A3275-4E75-A358-B188-50A246FDEE54}"/>
          </ac:spMkLst>
        </pc:spChg>
      </pc:sldChg>
      <pc:sldChg chg="addSp delSp modSp mod modNotesTx">
        <pc:chgData name="Wang, Peili" userId="95f81b23-c812-470c-aca8-455e8f0787ab" providerId="ADAL" clId="{7954F60E-803D-4549-AEA1-99CAA9C7CE10}" dt="2025-05-15T20:49:14.343" v="2977" actId="113"/>
        <pc:sldMkLst>
          <pc:docMk/>
          <pc:sldMk cId="3740605019" sldId="2141411710"/>
        </pc:sldMkLst>
        <pc:spChg chg="mod">
          <ac:chgData name="Wang, Peili" userId="95f81b23-c812-470c-aca8-455e8f0787ab" providerId="ADAL" clId="{7954F60E-803D-4549-AEA1-99CAA9C7CE10}" dt="2025-05-15T18:00:36.620" v="1091"/>
          <ac:spMkLst>
            <pc:docMk/>
            <pc:sldMk cId="3740605019" sldId="2141411710"/>
            <ac:spMk id="2" creationId="{A11885BD-4D27-6154-D247-CE8945249B16}"/>
          </ac:spMkLst>
        </pc:spChg>
        <pc:picChg chg="mod">
          <ac:chgData name="Wang, Peili" userId="95f81b23-c812-470c-aca8-455e8f0787ab" providerId="ADAL" clId="{7954F60E-803D-4549-AEA1-99CAA9C7CE10}" dt="2025-05-15T17:59:18.035" v="1047" actId="1076"/>
          <ac:picMkLst>
            <pc:docMk/>
            <pc:sldMk cId="3740605019" sldId="2141411710"/>
            <ac:picMk id="15" creationId="{A4A10422-D0E8-B1ED-1399-8920F56D638A}"/>
          </ac:picMkLst>
        </pc:picChg>
      </pc:sldChg>
      <pc:sldChg chg="new del">
        <pc:chgData name="Wang, Peili" userId="95f81b23-c812-470c-aca8-455e8f0787ab" providerId="ADAL" clId="{7954F60E-803D-4549-AEA1-99CAA9C7CE10}" dt="2025-05-15T15:41:39.095" v="17" actId="47"/>
        <pc:sldMkLst>
          <pc:docMk/>
          <pc:sldMk cId="2912307945" sldId="2141411711"/>
        </pc:sldMkLst>
      </pc:sldChg>
      <pc:sldChg chg="addSp delSp modSp add mod ord modClrScheme chgLayout">
        <pc:chgData name="Wang, Peili" userId="95f81b23-c812-470c-aca8-455e8f0787ab" providerId="ADAL" clId="{7954F60E-803D-4549-AEA1-99CAA9C7CE10}" dt="2025-05-15T19:59:11.958" v="2662"/>
        <pc:sldMkLst>
          <pc:docMk/>
          <pc:sldMk cId="3717598166" sldId="2141411712"/>
        </pc:sldMkLst>
        <pc:spChg chg="mod ord">
          <ac:chgData name="Wang, Peili" userId="95f81b23-c812-470c-aca8-455e8f0787ab" providerId="ADAL" clId="{7954F60E-803D-4549-AEA1-99CAA9C7CE10}" dt="2025-05-15T15:46:17.362" v="46" actId="700"/>
          <ac:spMkLst>
            <pc:docMk/>
            <pc:sldMk cId="3717598166" sldId="2141411712"/>
            <ac:spMk id="2" creationId="{1F7F230B-39CA-FE9F-02CC-49A77117EBE3}"/>
          </ac:spMkLst>
        </pc:spChg>
        <pc:spChg chg="add mod ord">
          <ac:chgData name="Wang, Peili" userId="95f81b23-c812-470c-aca8-455e8f0787ab" providerId="ADAL" clId="{7954F60E-803D-4549-AEA1-99CAA9C7CE10}" dt="2025-05-15T19:58:56.034" v="2660" actId="207"/>
          <ac:spMkLst>
            <pc:docMk/>
            <pc:sldMk cId="3717598166" sldId="2141411712"/>
            <ac:spMk id="3" creationId="{DDC66691-2214-9D76-6142-F6310A477DD5}"/>
          </ac:spMkLst>
        </pc:spChg>
      </pc:sldChg>
      <pc:sldChg chg="addSp modSp add mod ord">
        <pc:chgData name="Wang, Peili" userId="95f81b23-c812-470c-aca8-455e8f0787ab" providerId="ADAL" clId="{7954F60E-803D-4549-AEA1-99CAA9C7CE10}" dt="2025-05-15T16:22:51.807" v="739" actId="6549"/>
        <pc:sldMkLst>
          <pc:docMk/>
          <pc:sldMk cId="1640933867" sldId="2141411713"/>
        </pc:sldMkLst>
        <pc:spChg chg="mod">
          <ac:chgData name="Wang, Peili" userId="95f81b23-c812-470c-aca8-455e8f0787ab" providerId="ADAL" clId="{7954F60E-803D-4549-AEA1-99CAA9C7CE10}" dt="2025-05-15T15:43:13.628" v="35" actId="27636"/>
          <ac:spMkLst>
            <pc:docMk/>
            <pc:sldMk cId="1640933867" sldId="2141411713"/>
            <ac:spMk id="2" creationId="{1F7F230B-39CA-FE9F-02CC-49A77117EBE3}"/>
          </ac:spMkLst>
        </pc:spChg>
        <pc:spChg chg="add mod">
          <ac:chgData name="Wang, Peili" userId="95f81b23-c812-470c-aca8-455e8f0787ab" providerId="ADAL" clId="{7954F60E-803D-4549-AEA1-99CAA9C7CE10}" dt="2025-05-15T16:22:51.807" v="739" actId="6549"/>
          <ac:spMkLst>
            <pc:docMk/>
            <pc:sldMk cId="1640933867" sldId="2141411713"/>
            <ac:spMk id="3" creationId="{23ACD9AA-7693-19E1-CAB7-F62402C87C2D}"/>
          </ac:spMkLst>
        </pc:spChg>
      </pc:sldChg>
      <pc:sldChg chg="addSp delSp modSp new mod modNotesTx">
        <pc:chgData name="Wang, Peili" userId="95f81b23-c812-470c-aca8-455e8f0787ab" providerId="ADAL" clId="{7954F60E-803D-4549-AEA1-99CAA9C7CE10}" dt="2025-05-15T19:37:57.647" v="2020" actId="20577"/>
        <pc:sldMkLst>
          <pc:docMk/>
          <pc:sldMk cId="1707480365" sldId="2141411714"/>
        </pc:sldMkLst>
        <pc:spChg chg="mod">
          <ac:chgData name="Wang, Peili" userId="95f81b23-c812-470c-aca8-455e8f0787ab" providerId="ADAL" clId="{7954F60E-803D-4549-AEA1-99CAA9C7CE10}" dt="2025-05-15T16:16:54.903" v="598" actId="20577"/>
          <ac:spMkLst>
            <pc:docMk/>
            <pc:sldMk cId="1707480365" sldId="2141411714"/>
            <ac:spMk id="2" creationId="{0C00B875-4F36-8D9B-3DB3-34B4A5C3DD22}"/>
          </ac:spMkLst>
        </pc:spChg>
        <pc:spChg chg="mod">
          <ac:chgData name="Wang, Peili" userId="95f81b23-c812-470c-aca8-455e8f0787ab" providerId="ADAL" clId="{7954F60E-803D-4549-AEA1-99CAA9C7CE10}" dt="2025-05-15T19:37:57.647" v="2020" actId="20577"/>
          <ac:spMkLst>
            <pc:docMk/>
            <pc:sldMk cId="1707480365" sldId="2141411714"/>
            <ac:spMk id="3" creationId="{6E233E0B-E560-8C7C-6AC0-98D4BC80C90E}"/>
          </ac:spMkLst>
        </pc:spChg>
      </pc:sldChg>
      <pc:sldChg chg="addSp delSp modSp add mod modClrScheme chgLayout">
        <pc:chgData name="Wang, Peili" userId="95f81b23-c812-470c-aca8-455e8f0787ab" providerId="ADAL" clId="{7954F60E-803D-4549-AEA1-99CAA9C7CE10}" dt="2025-05-15T20:47:50.669" v="2969" actId="1076"/>
        <pc:sldMkLst>
          <pc:docMk/>
          <pc:sldMk cId="1502043866" sldId="2141411715"/>
        </pc:sldMkLst>
        <pc:spChg chg="mod">
          <ac:chgData name="Wang, Peili" userId="95f81b23-c812-470c-aca8-455e8f0787ab" providerId="ADAL" clId="{7954F60E-803D-4549-AEA1-99CAA9C7CE10}" dt="2025-05-15T20:47:48.036" v="2968" actId="1076"/>
          <ac:spMkLst>
            <pc:docMk/>
            <pc:sldMk cId="1502043866" sldId="2141411715"/>
            <ac:spMk id="5" creationId="{FBBD1278-DC74-BD9B-74F5-6A91597815F5}"/>
          </ac:spMkLst>
        </pc:spChg>
        <pc:spChg chg="mod ord">
          <ac:chgData name="Wang, Peili" userId="95f81b23-c812-470c-aca8-455e8f0787ab" providerId="ADAL" clId="{7954F60E-803D-4549-AEA1-99CAA9C7CE10}" dt="2025-05-15T18:53:09.882" v="1946" actId="20577"/>
          <ac:spMkLst>
            <pc:docMk/>
            <pc:sldMk cId="1502043866" sldId="2141411715"/>
            <ac:spMk id="6" creationId="{C2F444F3-5C0B-21AD-CA0A-36117E4C0764}"/>
          </ac:spMkLst>
        </pc:spChg>
        <pc:spChg chg="mod">
          <ac:chgData name="Wang, Peili" userId="95f81b23-c812-470c-aca8-455e8f0787ab" providerId="ADAL" clId="{7954F60E-803D-4549-AEA1-99CAA9C7CE10}" dt="2025-05-15T18:53:37.643" v="1951" actId="1076"/>
          <ac:spMkLst>
            <pc:docMk/>
            <pc:sldMk cId="1502043866" sldId="2141411715"/>
            <ac:spMk id="22" creationId="{3EBCFD66-62EE-9A2B-2E7B-CC656F4C6A8E}"/>
          </ac:spMkLst>
        </pc:spChg>
        <pc:spChg chg="mod">
          <ac:chgData name="Wang, Peili" userId="95f81b23-c812-470c-aca8-455e8f0787ab" providerId="ADAL" clId="{7954F60E-803D-4549-AEA1-99CAA9C7CE10}" dt="2025-05-15T18:54:16.770" v="1963" actId="14100"/>
          <ac:spMkLst>
            <pc:docMk/>
            <pc:sldMk cId="1502043866" sldId="2141411715"/>
            <ac:spMk id="32" creationId="{68B74010-7A9E-CB4D-CED8-6D671469E728}"/>
          </ac:spMkLst>
        </pc:spChg>
        <pc:spChg chg="mod">
          <ac:chgData name="Wang, Peili" userId="95f81b23-c812-470c-aca8-455e8f0787ab" providerId="ADAL" clId="{7954F60E-803D-4549-AEA1-99CAA9C7CE10}" dt="2025-05-15T18:54:30.722" v="1966" actId="14100"/>
          <ac:spMkLst>
            <pc:docMk/>
            <pc:sldMk cId="1502043866" sldId="2141411715"/>
            <ac:spMk id="33" creationId="{122A8D68-2CBD-5305-2FFC-243C8B1DA557}"/>
          </ac:spMkLst>
        </pc:spChg>
        <pc:spChg chg="mod">
          <ac:chgData name="Wang, Peili" userId="95f81b23-c812-470c-aca8-455e8f0787ab" providerId="ADAL" clId="{7954F60E-803D-4549-AEA1-99CAA9C7CE10}" dt="2025-05-15T18:54:25.594" v="1965" actId="1076"/>
          <ac:spMkLst>
            <pc:docMk/>
            <pc:sldMk cId="1502043866" sldId="2141411715"/>
            <ac:spMk id="34" creationId="{3B879D03-9518-59A8-7FFB-B63CE78C9BE9}"/>
          </ac:spMkLst>
        </pc:spChg>
        <pc:spChg chg="mod">
          <ac:chgData name="Wang, Peili" userId="95f81b23-c812-470c-aca8-455e8f0787ab" providerId="ADAL" clId="{7954F60E-803D-4549-AEA1-99CAA9C7CE10}" dt="2025-05-15T18:53:37.643" v="1951" actId="1076"/>
          <ac:spMkLst>
            <pc:docMk/>
            <pc:sldMk cId="1502043866" sldId="2141411715"/>
            <ac:spMk id="41" creationId="{B182E5D3-93CA-053D-A1A2-AF6B0BFC7871}"/>
          </ac:spMkLst>
        </pc:spChg>
        <pc:grpChg chg="add mod">
          <ac:chgData name="Wang, Peili" userId="95f81b23-c812-470c-aca8-455e8f0787ab" providerId="ADAL" clId="{7954F60E-803D-4549-AEA1-99CAA9C7CE10}" dt="2025-05-15T20:47:50.669" v="2969" actId="1076"/>
          <ac:grpSpMkLst>
            <pc:docMk/>
            <pc:sldMk cId="1502043866" sldId="2141411715"/>
            <ac:grpSpMk id="9" creationId="{760E3291-8A36-D084-8C7F-465EC1096087}"/>
          </ac:grpSpMkLst>
        </pc:grpChg>
        <pc:picChg chg="mod">
          <ac:chgData name="Wang, Peili" userId="95f81b23-c812-470c-aca8-455e8f0787ab" providerId="ADAL" clId="{7954F60E-803D-4549-AEA1-99CAA9C7CE10}" dt="2025-05-15T18:53:37.643" v="1951" actId="1076"/>
          <ac:picMkLst>
            <pc:docMk/>
            <pc:sldMk cId="1502043866" sldId="2141411715"/>
            <ac:picMk id="20" creationId="{B154C430-CE23-5D59-3FC8-5F1A34A3555B}"/>
          </ac:picMkLst>
        </pc:picChg>
        <pc:picChg chg="mod">
          <ac:chgData name="Wang, Peili" userId="95f81b23-c812-470c-aca8-455e8f0787ab" providerId="ADAL" clId="{7954F60E-803D-4549-AEA1-99CAA9C7CE10}" dt="2025-05-15T20:47:33.028" v="2964" actId="14100"/>
          <ac:picMkLst>
            <pc:docMk/>
            <pc:sldMk cId="1502043866" sldId="2141411715"/>
            <ac:picMk id="29" creationId="{F2D45FAE-34F1-6CF8-64DD-5F1AA06AAD37}"/>
          </ac:picMkLst>
        </pc:picChg>
      </pc:sldChg>
      <pc:sldChg chg="modSp new mod">
        <pc:chgData name="Wang, Peili" userId="95f81b23-c812-470c-aca8-455e8f0787ab" providerId="ADAL" clId="{7954F60E-803D-4549-AEA1-99CAA9C7CE10}" dt="2025-05-15T20:47:16.295" v="2962" actId="6549"/>
        <pc:sldMkLst>
          <pc:docMk/>
          <pc:sldMk cId="3164315827" sldId="2141411716"/>
        </pc:sldMkLst>
        <pc:spChg chg="mod">
          <ac:chgData name="Wang, Peili" userId="95f81b23-c812-470c-aca8-455e8f0787ab" providerId="ADAL" clId="{7954F60E-803D-4549-AEA1-99CAA9C7CE10}" dt="2025-05-15T20:06:09.943" v="2798" actId="20577"/>
          <ac:spMkLst>
            <pc:docMk/>
            <pc:sldMk cId="3164315827" sldId="2141411716"/>
            <ac:spMk id="2" creationId="{7184100D-D66C-59B1-9C8A-D455DC654764}"/>
          </ac:spMkLst>
        </pc:spChg>
        <pc:spChg chg="mod">
          <ac:chgData name="Wang, Peili" userId="95f81b23-c812-470c-aca8-455e8f0787ab" providerId="ADAL" clId="{7954F60E-803D-4549-AEA1-99CAA9C7CE10}" dt="2025-05-15T20:47:16.295" v="2962" actId="6549"/>
          <ac:spMkLst>
            <pc:docMk/>
            <pc:sldMk cId="3164315827" sldId="2141411716"/>
            <ac:spMk id="3" creationId="{8D40DA9E-A5B8-6C1C-9C33-811119203282}"/>
          </ac:spMkLst>
        </pc:spChg>
      </pc:sldChg>
    </pc:docChg>
  </pc:docChgLst>
  <pc:docChgLst>
    <pc:chgData clId="Web-{CBC8517A-E52F-AE9C-F920-7BE7E30A7FDA}"/>
    <pc:docChg chg="modSld">
      <pc:chgData name="" userId="" providerId="" clId="Web-{CBC8517A-E52F-AE9C-F920-7BE7E30A7FDA}" dt="2025-05-07T13:46:17.595" v="3" actId="20577"/>
      <pc:docMkLst>
        <pc:docMk/>
      </pc:docMkLst>
      <pc:sldChg chg="modSp">
        <pc:chgData name="" userId="" providerId="" clId="Web-{CBC8517A-E52F-AE9C-F920-7BE7E30A7FDA}" dt="2025-05-07T13:46:17.595" v="3" actId="20577"/>
        <pc:sldMkLst>
          <pc:docMk/>
          <pc:sldMk cId="1474093788" sldId="2141411662"/>
        </pc:sldMkLst>
      </pc:sldChg>
    </pc:docChg>
  </pc:docChgLst>
  <pc:docChgLst>
    <pc:chgData name="Wang, Peili" userId="S::wangp103@pfizer.com::95f81b23-c812-470c-aca8-455e8f0787ab" providerId="AD" clId="Web-{354C5361-1A66-5A6B-A64F-DC358C34FCC5}"/>
    <pc:docChg chg="modSld">
      <pc:chgData name="Wang, Peili" userId="S::wangp103@pfizer.com::95f81b23-c812-470c-aca8-455e8f0787ab" providerId="AD" clId="Web-{354C5361-1A66-5A6B-A64F-DC358C34FCC5}" dt="2025-05-07T18:28:24.712" v="308" actId="1076"/>
      <pc:docMkLst>
        <pc:docMk/>
      </pc:docMkLst>
      <pc:sldChg chg="modSp modNotes">
        <pc:chgData name="Wang, Peili" userId="S::wangp103@pfizer.com::95f81b23-c812-470c-aca8-455e8f0787ab" providerId="AD" clId="Web-{354C5361-1A66-5A6B-A64F-DC358C34FCC5}" dt="2025-05-07T18:28:24.712" v="308" actId="1076"/>
        <pc:sldMkLst>
          <pc:docMk/>
          <pc:sldMk cId="1619385992" sldId="2141411687"/>
        </pc:sldMkLst>
      </pc:sldChg>
      <pc:sldChg chg="modSp">
        <pc:chgData name="Wang, Peili" userId="S::wangp103@pfizer.com::95f81b23-c812-470c-aca8-455e8f0787ab" providerId="AD" clId="Web-{354C5361-1A66-5A6B-A64F-DC358C34FCC5}" dt="2025-05-07T18:21:39.761" v="0" actId="1076"/>
        <pc:sldMkLst>
          <pc:docMk/>
          <pc:sldMk cId="921949941" sldId="2141411692"/>
        </pc:sldMkLst>
      </pc:sldChg>
    </pc:docChg>
  </pc:docChgLst>
  <pc:docChgLst>
    <pc:chgData name="Wang, Peili" userId="95f81b23-c812-470c-aca8-455e8f0787ab" providerId="ADAL" clId="{DDA70086-BF4D-4400-AED4-66595F1B9331}"/>
    <pc:docChg chg="undo custSel addSld delSld modSld modSection">
      <pc:chgData name="Wang, Peili" userId="95f81b23-c812-470c-aca8-455e8f0787ab" providerId="ADAL" clId="{DDA70086-BF4D-4400-AED4-66595F1B9331}" dt="2025-05-19T17:50:36.632" v="2119" actId="1076"/>
      <pc:docMkLst>
        <pc:docMk/>
      </pc:docMkLst>
      <pc:sldChg chg="modSp mod">
        <pc:chgData name="Wang, Peili" userId="95f81b23-c812-470c-aca8-455e8f0787ab" providerId="ADAL" clId="{DDA70086-BF4D-4400-AED4-66595F1B9331}" dt="2025-05-19T16:11:11.286" v="983" actId="20577"/>
        <pc:sldMkLst>
          <pc:docMk/>
          <pc:sldMk cId="1646108350" sldId="256"/>
        </pc:sldMkLst>
        <pc:spChg chg="mod">
          <ac:chgData name="Wang, Peili" userId="95f81b23-c812-470c-aca8-455e8f0787ab" providerId="ADAL" clId="{DDA70086-BF4D-4400-AED4-66595F1B9331}" dt="2025-05-19T16:11:11.286" v="983" actId="20577"/>
          <ac:spMkLst>
            <pc:docMk/>
            <pc:sldMk cId="1646108350" sldId="256"/>
            <ac:spMk id="3" creationId="{E1796B25-30E6-B34F-5D85-18062BF18782}"/>
          </ac:spMkLst>
        </pc:spChg>
      </pc:sldChg>
      <pc:sldChg chg="delSp modSp mod modNotesTx">
        <pc:chgData name="Wang, Peili" userId="95f81b23-c812-470c-aca8-455e8f0787ab" providerId="ADAL" clId="{DDA70086-BF4D-4400-AED4-66595F1B9331}" dt="2025-05-19T17:33:40.865" v="2092" actId="20577"/>
        <pc:sldMkLst>
          <pc:docMk/>
          <pc:sldMk cId="3957938303" sldId="2141411664"/>
        </pc:sldMkLst>
        <pc:spChg chg="mod">
          <ac:chgData name="Wang, Peili" userId="95f81b23-c812-470c-aca8-455e8f0787ab" providerId="ADAL" clId="{DDA70086-BF4D-4400-AED4-66595F1B9331}" dt="2025-05-19T15:32:06.210" v="837" actId="20577"/>
          <ac:spMkLst>
            <pc:docMk/>
            <pc:sldMk cId="3957938303" sldId="2141411664"/>
            <ac:spMk id="3" creationId="{F000BA6B-0FEA-DCDE-7B01-16275ABA79E9}"/>
          </ac:spMkLst>
        </pc:spChg>
        <pc:spChg chg="mod">
          <ac:chgData name="Wang, Peili" userId="95f81b23-c812-470c-aca8-455e8f0787ab" providerId="ADAL" clId="{DDA70086-BF4D-4400-AED4-66595F1B9331}" dt="2025-05-19T17:33:40.865" v="2092" actId="20577"/>
          <ac:spMkLst>
            <pc:docMk/>
            <pc:sldMk cId="3957938303" sldId="2141411664"/>
            <ac:spMk id="10" creationId="{45ACA124-1645-86D9-9322-3BC88BE9424D}"/>
          </ac:spMkLst>
        </pc:spChg>
        <pc:spChg chg="mod">
          <ac:chgData name="Wang, Peili" userId="95f81b23-c812-470c-aca8-455e8f0787ab" providerId="ADAL" clId="{DDA70086-BF4D-4400-AED4-66595F1B9331}" dt="2025-05-19T15:48:09.694" v="919" actId="1076"/>
          <ac:spMkLst>
            <pc:docMk/>
            <pc:sldMk cId="3957938303" sldId="2141411664"/>
            <ac:spMk id="21" creationId="{E8364A93-4A01-2927-E9E8-E3CBF815F69F}"/>
          </ac:spMkLst>
        </pc:spChg>
        <pc:grpChg chg="mod">
          <ac:chgData name="Wang, Peili" userId="95f81b23-c812-470c-aca8-455e8f0787ab" providerId="ADAL" clId="{DDA70086-BF4D-4400-AED4-66595F1B9331}" dt="2025-05-19T15:48:01.862" v="917" actId="1076"/>
          <ac:grpSpMkLst>
            <pc:docMk/>
            <pc:sldMk cId="3957938303" sldId="2141411664"/>
            <ac:grpSpMk id="19" creationId="{3AF5C1C8-3059-BD9D-78CE-DCFF17DB029B}"/>
          </ac:grpSpMkLst>
        </pc:grpChg>
      </pc:sldChg>
      <pc:sldChg chg="modSp mod modCm">
        <pc:chgData name="Wang, Peili" userId="95f81b23-c812-470c-aca8-455e8f0787ab" providerId="ADAL" clId="{DDA70086-BF4D-4400-AED4-66595F1B9331}" dt="2025-05-19T17:32:14.668" v="2087" actId="20577"/>
        <pc:sldMkLst>
          <pc:docMk/>
          <pc:sldMk cId="3330329049" sldId="2141411697"/>
        </pc:sldMkLst>
        <pc:spChg chg="mod">
          <ac:chgData name="Wang, Peili" userId="95f81b23-c812-470c-aca8-455e8f0787ab" providerId="ADAL" clId="{DDA70086-BF4D-4400-AED4-66595F1B9331}" dt="2025-05-19T16:29:08.042" v="1335" actId="20577"/>
          <ac:spMkLst>
            <pc:docMk/>
            <pc:sldMk cId="3330329049" sldId="2141411697"/>
            <ac:spMk id="2" creationId="{09C7A374-B047-BF52-DFEE-77024CF045AF}"/>
          </ac:spMkLst>
        </pc:spChg>
        <pc:spChg chg="mod">
          <ac:chgData name="Wang, Peili" userId="95f81b23-c812-470c-aca8-455e8f0787ab" providerId="ADAL" clId="{DDA70086-BF4D-4400-AED4-66595F1B9331}" dt="2025-05-19T17:32:14.668" v="2087" actId="20577"/>
          <ac:spMkLst>
            <pc:docMk/>
            <pc:sldMk cId="3330329049" sldId="2141411697"/>
            <ac:spMk id="3" creationId="{5FD01B92-9C8F-C085-EEB2-BA204B45D35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ang, Peili" userId="95f81b23-c812-470c-aca8-455e8f0787ab" providerId="ADAL" clId="{DDA70086-BF4D-4400-AED4-66595F1B9331}" dt="2025-05-19T17:32:14.668" v="2087" actId="20577"/>
              <pc2:cmMkLst xmlns:pc2="http://schemas.microsoft.com/office/powerpoint/2019/9/main/command">
                <pc:docMk/>
                <pc:sldMk cId="3330329049" sldId="2141411697"/>
                <pc2:cmMk id="{56D8F57B-E5DD-4D2A-8EAB-4FA78D1035C0}"/>
              </pc2:cmMkLst>
            </pc226:cmChg>
          </p:ext>
        </pc:extLst>
      </pc:sldChg>
      <pc:sldChg chg="addSp modSp mod modNotesTx">
        <pc:chgData name="Wang, Peili" userId="95f81b23-c812-470c-aca8-455e8f0787ab" providerId="ADAL" clId="{DDA70086-BF4D-4400-AED4-66595F1B9331}" dt="2025-05-19T16:49:07.204" v="1883" actId="208"/>
        <pc:sldMkLst>
          <pc:docMk/>
          <pc:sldMk cId="231990289" sldId="2141411701"/>
        </pc:sldMkLst>
        <pc:spChg chg="add mod">
          <ac:chgData name="Wang, Peili" userId="95f81b23-c812-470c-aca8-455e8f0787ab" providerId="ADAL" clId="{DDA70086-BF4D-4400-AED4-66595F1B9331}" dt="2025-05-19T16:49:07.204" v="1883" actId="208"/>
          <ac:spMkLst>
            <pc:docMk/>
            <pc:sldMk cId="231990289" sldId="2141411701"/>
            <ac:spMk id="2" creationId="{AB26FF7D-F559-7F02-C9FE-076739B229E2}"/>
          </ac:spMkLst>
        </pc:spChg>
        <pc:spChg chg="mod">
          <ac:chgData name="Wang, Peili" userId="95f81b23-c812-470c-aca8-455e8f0787ab" providerId="ADAL" clId="{DDA70086-BF4D-4400-AED4-66595F1B9331}" dt="2025-05-19T16:43:33.128" v="1593" actId="20577"/>
          <ac:spMkLst>
            <pc:docMk/>
            <pc:sldMk cId="231990289" sldId="2141411701"/>
            <ac:spMk id="6" creationId="{415914C7-52A8-F373-7C6D-669BAF45C65E}"/>
          </ac:spMkLst>
        </pc:spChg>
        <pc:spChg chg="mod">
          <ac:chgData name="Wang, Peili" userId="95f81b23-c812-470c-aca8-455e8f0787ab" providerId="ADAL" clId="{DDA70086-BF4D-4400-AED4-66595F1B9331}" dt="2025-05-19T16:48:21.154" v="1855" actId="14100"/>
          <ac:spMkLst>
            <pc:docMk/>
            <pc:sldMk cId="231990289" sldId="2141411701"/>
            <ac:spMk id="7" creationId="{73CA1D66-77EC-490C-65F1-2712B8D86F0D}"/>
          </ac:spMkLst>
        </pc:spChg>
      </pc:sldChg>
      <pc:sldChg chg="modSp mod modCm">
        <pc:chgData name="Wang, Peili" userId="95f81b23-c812-470c-aca8-455e8f0787ab" providerId="ADAL" clId="{DDA70086-BF4D-4400-AED4-66595F1B9331}" dt="2025-05-19T15:34:38.734" v="850" actId="20577"/>
        <pc:sldMkLst>
          <pc:docMk/>
          <pc:sldMk cId="2528523666" sldId="2141411702"/>
        </pc:sldMkLst>
        <pc:spChg chg="mod">
          <ac:chgData name="Wang, Peili" userId="95f81b23-c812-470c-aca8-455e8f0787ab" providerId="ADAL" clId="{DDA70086-BF4D-4400-AED4-66595F1B9331}" dt="2025-05-19T15:34:38.734" v="850" actId="20577"/>
          <ac:spMkLst>
            <pc:docMk/>
            <pc:sldMk cId="2528523666" sldId="2141411702"/>
            <ac:spMk id="4" creationId="{2CB691B9-6F26-3A25-6726-5649926B0F6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ang, Peili" userId="95f81b23-c812-470c-aca8-455e8f0787ab" providerId="ADAL" clId="{DDA70086-BF4D-4400-AED4-66595F1B9331}" dt="2025-05-19T15:34:38.734" v="850" actId="20577"/>
              <pc2:cmMkLst xmlns:pc2="http://schemas.microsoft.com/office/powerpoint/2019/9/main/command">
                <pc:docMk/>
                <pc:sldMk cId="2528523666" sldId="2141411702"/>
                <pc2:cmMk id="{35E1314F-AB9A-4BD4-B333-ECDECC0E57AB}"/>
              </pc2:cmMkLst>
            </pc226:cmChg>
          </p:ext>
        </pc:extLst>
      </pc:sldChg>
      <pc:sldChg chg="modSp mod modNotesTx">
        <pc:chgData name="Wang, Peili" userId="95f81b23-c812-470c-aca8-455e8f0787ab" providerId="ADAL" clId="{DDA70086-BF4D-4400-AED4-66595F1B9331}" dt="2025-05-19T17:22:50.345" v="1985" actId="1076"/>
        <pc:sldMkLst>
          <pc:docMk/>
          <pc:sldMk cId="3156788896" sldId="2141411704"/>
        </pc:sldMkLst>
        <pc:spChg chg="mod">
          <ac:chgData name="Wang, Peili" userId="95f81b23-c812-470c-aca8-455e8f0787ab" providerId="ADAL" clId="{DDA70086-BF4D-4400-AED4-66595F1B9331}" dt="2025-05-19T17:22:44.871" v="1984" actId="1076"/>
          <ac:spMkLst>
            <pc:docMk/>
            <pc:sldMk cId="3156788896" sldId="2141411704"/>
            <ac:spMk id="8" creationId="{9E9F5423-B5E2-6821-CBAE-63A6957B1FED}"/>
          </ac:spMkLst>
        </pc:spChg>
        <pc:spChg chg="mod">
          <ac:chgData name="Wang, Peili" userId="95f81b23-c812-470c-aca8-455e8f0787ab" providerId="ADAL" clId="{DDA70086-BF4D-4400-AED4-66595F1B9331}" dt="2025-05-19T17:22:50.345" v="1985" actId="1076"/>
          <ac:spMkLst>
            <pc:docMk/>
            <pc:sldMk cId="3156788896" sldId="2141411704"/>
            <ac:spMk id="12" creationId="{44B1EC28-4730-23D0-45DD-3660B973A2A8}"/>
          </ac:spMkLst>
        </pc:spChg>
        <pc:spChg chg="mod">
          <ac:chgData name="Wang, Peili" userId="95f81b23-c812-470c-aca8-455e8f0787ab" providerId="ADAL" clId="{DDA70086-BF4D-4400-AED4-66595F1B9331}" dt="2025-05-19T16:19:46.119" v="1078" actId="20577"/>
          <ac:spMkLst>
            <pc:docMk/>
            <pc:sldMk cId="3156788896" sldId="2141411704"/>
            <ac:spMk id="25" creationId="{9813C2B6-B2AC-8E0D-F01C-256048AEB7E1}"/>
          </ac:spMkLst>
        </pc:spChg>
      </pc:sldChg>
      <pc:sldChg chg="addSp delSp modSp mod">
        <pc:chgData name="Wang, Peili" userId="95f81b23-c812-470c-aca8-455e8f0787ab" providerId="ADAL" clId="{DDA70086-BF4D-4400-AED4-66595F1B9331}" dt="2025-05-19T17:26:46.225" v="2021" actId="1076"/>
        <pc:sldMkLst>
          <pc:docMk/>
          <pc:sldMk cId="1003475791" sldId="2141411707"/>
        </pc:sldMkLst>
        <pc:spChg chg="add mod">
          <ac:chgData name="Wang, Peili" userId="95f81b23-c812-470c-aca8-455e8f0787ab" providerId="ADAL" clId="{DDA70086-BF4D-4400-AED4-66595F1B9331}" dt="2025-05-19T17:26:46.225" v="2021" actId="1076"/>
          <ac:spMkLst>
            <pc:docMk/>
            <pc:sldMk cId="1003475791" sldId="2141411707"/>
            <ac:spMk id="4" creationId="{47EB7C15-86AF-92A2-7C2A-AEE10E74E208}"/>
          </ac:spMkLst>
        </pc:spChg>
        <pc:spChg chg="mod">
          <ac:chgData name="Wang, Peili" userId="95f81b23-c812-470c-aca8-455e8f0787ab" providerId="ADAL" clId="{DDA70086-BF4D-4400-AED4-66595F1B9331}" dt="2025-05-19T15:10:32.159" v="443" actId="20577"/>
          <ac:spMkLst>
            <pc:docMk/>
            <pc:sldMk cId="1003475791" sldId="2141411707"/>
            <ac:spMk id="7" creationId="{154C7505-3130-CB4E-C82D-FCDA5A3E38A0}"/>
          </ac:spMkLst>
        </pc:spChg>
        <pc:spChg chg="add mod">
          <ac:chgData name="Wang, Peili" userId="95f81b23-c812-470c-aca8-455e8f0787ab" providerId="ADAL" clId="{DDA70086-BF4D-4400-AED4-66595F1B9331}" dt="2025-05-19T17:24:03.120" v="2001" actId="14100"/>
          <ac:spMkLst>
            <pc:docMk/>
            <pc:sldMk cId="1003475791" sldId="2141411707"/>
            <ac:spMk id="8" creationId="{28463F43-0F1A-401B-FA89-C6A78DFB5E0A}"/>
          </ac:spMkLst>
        </pc:spChg>
      </pc:sldChg>
      <pc:sldChg chg="addSp delSp modSp mod modNotesTx">
        <pc:chgData name="Wang, Peili" userId="95f81b23-c812-470c-aca8-455e8f0787ab" providerId="ADAL" clId="{DDA70086-BF4D-4400-AED4-66595F1B9331}" dt="2025-05-19T17:22:22.754" v="1982" actId="113"/>
        <pc:sldMkLst>
          <pc:docMk/>
          <pc:sldMk cId="4143396677" sldId="2141411709"/>
        </pc:sldMkLst>
        <pc:spChg chg="add mod">
          <ac:chgData name="Wang, Peili" userId="95f81b23-c812-470c-aca8-455e8f0787ab" providerId="ADAL" clId="{DDA70086-BF4D-4400-AED4-66595F1B9331}" dt="2025-05-19T17:22:22.754" v="1982" actId="113"/>
          <ac:spMkLst>
            <pc:docMk/>
            <pc:sldMk cId="4143396677" sldId="2141411709"/>
            <ac:spMk id="6" creationId="{305AD2FA-5AD9-6119-EEA0-C22E4033FE6D}"/>
          </ac:spMkLst>
        </pc:spChg>
        <pc:spChg chg="add mod">
          <ac:chgData name="Wang, Peili" userId="95f81b23-c812-470c-aca8-455e8f0787ab" providerId="ADAL" clId="{DDA70086-BF4D-4400-AED4-66595F1B9331}" dt="2025-05-19T17:22:19.907" v="1981" actId="113"/>
          <ac:spMkLst>
            <pc:docMk/>
            <pc:sldMk cId="4143396677" sldId="2141411709"/>
            <ac:spMk id="7" creationId="{528577F6-DD39-7484-F406-93804E54F036}"/>
          </ac:spMkLst>
        </pc:spChg>
      </pc:sldChg>
      <pc:sldChg chg="addSp delSp modSp mod">
        <pc:chgData name="Wang, Peili" userId="95f81b23-c812-470c-aca8-455e8f0787ab" providerId="ADAL" clId="{DDA70086-BF4D-4400-AED4-66595F1B9331}" dt="2025-05-19T17:26:32.124" v="2020" actId="1076"/>
        <pc:sldMkLst>
          <pc:docMk/>
          <pc:sldMk cId="3740605019" sldId="2141411710"/>
        </pc:sldMkLst>
        <pc:spChg chg="add mod">
          <ac:chgData name="Wang, Peili" userId="95f81b23-c812-470c-aca8-455e8f0787ab" providerId="ADAL" clId="{DDA70086-BF4D-4400-AED4-66595F1B9331}" dt="2025-05-19T17:26:32.124" v="2020" actId="1076"/>
          <ac:spMkLst>
            <pc:docMk/>
            <pc:sldMk cId="3740605019" sldId="2141411710"/>
            <ac:spMk id="16" creationId="{22582D8F-07EC-E897-4338-867AFE147813}"/>
          </ac:spMkLst>
        </pc:spChg>
        <pc:spChg chg="add mod">
          <ac:chgData name="Wang, Peili" userId="95f81b23-c812-470c-aca8-455e8f0787ab" providerId="ADAL" clId="{DDA70086-BF4D-4400-AED4-66595F1B9331}" dt="2025-05-19T17:24:42.129" v="2014" actId="14100"/>
          <ac:spMkLst>
            <pc:docMk/>
            <pc:sldMk cId="3740605019" sldId="2141411710"/>
            <ac:spMk id="20" creationId="{31FCAE69-51B2-F051-C101-478728756C75}"/>
          </ac:spMkLst>
        </pc:spChg>
        <pc:picChg chg="mod">
          <ac:chgData name="Wang, Peili" userId="95f81b23-c812-470c-aca8-455e8f0787ab" providerId="ADAL" clId="{DDA70086-BF4D-4400-AED4-66595F1B9331}" dt="2025-05-19T17:26:26.673" v="2019" actId="1076"/>
          <ac:picMkLst>
            <pc:docMk/>
            <pc:sldMk cId="3740605019" sldId="2141411710"/>
            <ac:picMk id="15" creationId="{A4A10422-D0E8-B1ED-1399-8920F56D638A}"/>
          </ac:picMkLst>
        </pc:picChg>
        <pc:picChg chg="add mod modCrop">
          <ac:chgData name="Wang, Peili" userId="95f81b23-c812-470c-aca8-455e8f0787ab" providerId="ADAL" clId="{DDA70086-BF4D-4400-AED4-66595F1B9331}" dt="2025-05-19T17:25:59.133" v="2015" actId="14100"/>
          <ac:picMkLst>
            <pc:docMk/>
            <pc:sldMk cId="3740605019" sldId="2141411710"/>
            <ac:picMk id="19" creationId="{718ECEF9-6338-6682-859F-7F5819EC1E42}"/>
          </ac:picMkLst>
        </pc:picChg>
      </pc:sldChg>
      <pc:sldChg chg="modSp mod modCm">
        <pc:chgData name="Wang, Peili" userId="95f81b23-c812-470c-aca8-455e8f0787ab" providerId="ADAL" clId="{DDA70086-BF4D-4400-AED4-66595F1B9331}" dt="2025-05-19T15:34:19.199" v="846" actId="20577"/>
        <pc:sldMkLst>
          <pc:docMk/>
          <pc:sldMk cId="1640933867" sldId="2141411713"/>
        </pc:sldMkLst>
        <pc:spChg chg="mod">
          <ac:chgData name="Wang, Peili" userId="95f81b23-c812-470c-aca8-455e8f0787ab" providerId="ADAL" clId="{DDA70086-BF4D-4400-AED4-66595F1B9331}" dt="2025-05-19T15:34:19.199" v="846" actId="20577"/>
          <ac:spMkLst>
            <pc:docMk/>
            <pc:sldMk cId="1640933867" sldId="2141411713"/>
            <ac:spMk id="3" creationId="{23ACD9AA-7693-19E1-CAB7-F62402C87C2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ang, Peili" userId="95f81b23-c812-470c-aca8-455e8f0787ab" providerId="ADAL" clId="{DDA70086-BF4D-4400-AED4-66595F1B9331}" dt="2025-05-19T15:34:19.199" v="846" actId="20577"/>
              <pc2:cmMkLst xmlns:pc2="http://schemas.microsoft.com/office/powerpoint/2019/9/main/command">
                <pc:docMk/>
                <pc:sldMk cId="1640933867" sldId="2141411713"/>
                <pc2:cmMk id="{645B0A78-5E31-46BD-88AF-7D2320099D43}"/>
              </pc2:cmMkLst>
            </pc226:cmChg>
          </p:ext>
        </pc:extLst>
      </pc:sldChg>
      <pc:sldChg chg="addSp modSp mod modCm">
        <pc:chgData name="Wang, Peili" userId="95f81b23-c812-470c-aca8-455e8f0787ab" providerId="ADAL" clId="{DDA70086-BF4D-4400-AED4-66595F1B9331}" dt="2025-05-19T17:17:43.192" v="1971" actId="1076"/>
        <pc:sldMkLst>
          <pc:docMk/>
          <pc:sldMk cId="1707480365" sldId="2141411714"/>
        </pc:sldMkLst>
        <pc:spChg chg="mod">
          <ac:chgData name="Wang, Peili" userId="95f81b23-c812-470c-aca8-455e8f0787ab" providerId="ADAL" clId="{DDA70086-BF4D-4400-AED4-66595F1B9331}" dt="2025-05-19T16:16:35.510" v="1058" actId="14100"/>
          <ac:spMkLst>
            <pc:docMk/>
            <pc:sldMk cId="1707480365" sldId="2141411714"/>
            <ac:spMk id="3" creationId="{6E233E0B-E560-8C7C-6AC0-98D4BC80C90E}"/>
          </ac:spMkLst>
        </pc:spChg>
        <pc:spChg chg="add mod">
          <ac:chgData name="Wang, Peili" userId="95f81b23-c812-470c-aca8-455e8f0787ab" providerId="ADAL" clId="{DDA70086-BF4D-4400-AED4-66595F1B9331}" dt="2025-05-19T17:17:43.192" v="1971" actId="1076"/>
          <ac:spMkLst>
            <pc:docMk/>
            <pc:sldMk cId="1707480365" sldId="2141411714"/>
            <ac:spMk id="5" creationId="{217C4FE8-5D31-9559-DB05-E537A0A7A9E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ang, Peili" userId="95f81b23-c812-470c-aca8-455e8f0787ab" providerId="ADAL" clId="{DDA70086-BF4D-4400-AED4-66595F1B9331}" dt="2025-05-19T15:32:22.866" v="839" actId="20577"/>
              <pc2:cmMkLst xmlns:pc2="http://schemas.microsoft.com/office/powerpoint/2019/9/main/command">
                <pc:docMk/>
                <pc:sldMk cId="1707480365" sldId="2141411714"/>
                <pc2:cmMk id="{DEC7F204-483F-490A-9108-0F16BB0F9C54}"/>
              </pc2:cmMkLst>
            </pc226:cmChg>
          </p:ext>
        </pc:extLst>
      </pc:sldChg>
      <pc:sldChg chg="delSp modSp mod">
        <pc:chgData name="Wang, Peili" userId="95f81b23-c812-470c-aca8-455e8f0787ab" providerId="ADAL" clId="{DDA70086-BF4D-4400-AED4-66595F1B9331}" dt="2025-05-19T17:50:36.632" v="2119" actId="1076"/>
        <pc:sldMkLst>
          <pc:docMk/>
          <pc:sldMk cId="1502043866" sldId="2141411715"/>
        </pc:sldMkLst>
        <pc:spChg chg="mod">
          <ac:chgData name="Wang, Peili" userId="95f81b23-c812-470c-aca8-455e8f0787ab" providerId="ADAL" clId="{DDA70086-BF4D-4400-AED4-66595F1B9331}" dt="2025-05-19T16:40:34.027" v="1491" actId="1076"/>
          <ac:spMkLst>
            <pc:docMk/>
            <pc:sldMk cId="1502043866" sldId="2141411715"/>
            <ac:spMk id="5" creationId="{FBBD1278-DC74-BD9B-74F5-6A91597815F5}"/>
          </ac:spMkLst>
        </pc:spChg>
        <pc:spChg chg="mod">
          <ac:chgData name="Wang, Peili" userId="95f81b23-c812-470c-aca8-455e8f0787ab" providerId="ADAL" clId="{DDA70086-BF4D-4400-AED4-66595F1B9331}" dt="2025-05-19T17:35:35.076" v="2113" actId="20577"/>
          <ac:spMkLst>
            <pc:docMk/>
            <pc:sldMk cId="1502043866" sldId="2141411715"/>
            <ac:spMk id="6" creationId="{C2F444F3-5C0B-21AD-CA0A-36117E4C0764}"/>
          </ac:spMkLst>
        </pc:spChg>
        <pc:spChg chg="mod">
          <ac:chgData name="Wang, Peili" userId="95f81b23-c812-470c-aca8-455e8f0787ab" providerId="ADAL" clId="{DDA70086-BF4D-4400-AED4-66595F1B9331}" dt="2025-05-19T17:50:34.794" v="2118" actId="1076"/>
          <ac:spMkLst>
            <pc:docMk/>
            <pc:sldMk cId="1502043866" sldId="2141411715"/>
            <ac:spMk id="32" creationId="{68B74010-7A9E-CB4D-CED8-6D671469E728}"/>
          </ac:spMkLst>
        </pc:spChg>
        <pc:grpChg chg="mod">
          <ac:chgData name="Wang, Peili" userId="95f81b23-c812-470c-aca8-455e8f0787ab" providerId="ADAL" clId="{DDA70086-BF4D-4400-AED4-66595F1B9331}" dt="2025-05-19T17:50:12.682" v="2114" actId="1076"/>
          <ac:grpSpMkLst>
            <pc:docMk/>
            <pc:sldMk cId="1502043866" sldId="2141411715"/>
            <ac:grpSpMk id="9" creationId="{760E3291-8A36-D084-8C7F-465EC1096087}"/>
          </ac:grpSpMkLst>
        </pc:grpChg>
        <pc:picChg chg="mod">
          <ac:chgData name="Wang, Peili" userId="95f81b23-c812-470c-aca8-455e8f0787ab" providerId="ADAL" clId="{DDA70086-BF4D-4400-AED4-66595F1B9331}" dt="2025-05-19T17:50:29.448" v="2117" actId="1076"/>
          <ac:picMkLst>
            <pc:docMk/>
            <pc:sldMk cId="1502043866" sldId="2141411715"/>
            <ac:picMk id="29" creationId="{F2D45FAE-34F1-6CF8-64DD-5F1AA06AAD37}"/>
          </ac:picMkLst>
        </pc:picChg>
      </pc:sldChg>
      <pc:sldChg chg="modSp mod modCm">
        <pc:chgData name="Wang, Peili" userId="95f81b23-c812-470c-aca8-455e8f0787ab" providerId="ADAL" clId="{DDA70086-BF4D-4400-AED4-66595F1B9331}" dt="2025-05-19T15:46:25.603" v="892"/>
        <pc:sldMkLst>
          <pc:docMk/>
          <pc:sldMk cId="3164315827" sldId="2141411716"/>
        </pc:sldMkLst>
        <pc:spChg chg="mod">
          <ac:chgData name="Wang, Peili" userId="95f81b23-c812-470c-aca8-455e8f0787ab" providerId="ADAL" clId="{DDA70086-BF4D-4400-AED4-66595F1B9331}" dt="2025-05-19T15:46:25.603" v="892"/>
          <ac:spMkLst>
            <pc:docMk/>
            <pc:sldMk cId="3164315827" sldId="2141411716"/>
            <ac:spMk id="3" creationId="{8D40DA9E-A5B8-6C1C-9C33-81111920328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ang, Peili" userId="95f81b23-c812-470c-aca8-455e8f0787ab" providerId="ADAL" clId="{DDA70086-BF4D-4400-AED4-66595F1B9331}" dt="2025-05-19T15:46:25.603" v="892"/>
              <pc2:cmMkLst xmlns:pc2="http://schemas.microsoft.com/office/powerpoint/2019/9/main/command">
                <pc:docMk/>
                <pc:sldMk cId="3164315827" sldId="2141411716"/>
                <pc2:cmMk id="{BC3E453E-5EE0-4A42-93BF-169E77BA5F90}"/>
              </pc2:cmMkLst>
            </pc226:cmChg>
          </p:ext>
        </pc:extLst>
      </pc:sldChg>
      <pc:sldChg chg="addSp delSp modSp new mod modClrScheme chgLayout">
        <pc:chgData name="Wang, Peili" userId="95f81b23-c812-470c-aca8-455e8f0787ab" providerId="ADAL" clId="{DDA70086-BF4D-4400-AED4-66595F1B9331}" dt="2025-05-19T14:39:50.848" v="117" actId="1076"/>
        <pc:sldMkLst>
          <pc:docMk/>
          <pc:sldMk cId="342942210" sldId="2141411717"/>
        </pc:sldMkLst>
      </pc:sldChg>
      <pc:sldChg chg="new del">
        <pc:chgData name="Wang, Peili" userId="95f81b23-c812-470c-aca8-455e8f0787ab" providerId="ADAL" clId="{DDA70086-BF4D-4400-AED4-66595F1B9331}" dt="2025-05-19T14:34:38.977" v="9" actId="47"/>
        <pc:sldMkLst>
          <pc:docMk/>
          <pc:sldMk cId="413736923" sldId="2141411717"/>
        </pc:sldMkLst>
      </pc:sldChg>
      <pc:sldChg chg="addSp delSp modSp new mod modNotesTx">
        <pc:chgData name="Wang, Peili" userId="95f81b23-c812-470c-aca8-455e8f0787ab" providerId="ADAL" clId="{DDA70086-BF4D-4400-AED4-66595F1B9331}" dt="2025-05-19T17:28:29.237" v="2056" actId="1076"/>
        <pc:sldMkLst>
          <pc:docMk/>
          <pc:sldMk cId="3713982638" sldId="2141411718"/>
        </pc:sldMkLst>
        <pc:spChg chg="mod">
          <ac:chgData name="Wang, Peili" userId="95f81b23-c812-470c-aca8-455e8f0787ab" providerId="ADAL" clId="{DDA70086-BF4D-4400-AED4-66595F1B9331}" dt="2025-05-19T15:05:00.638" v="292"/>
          <ac:spMkLst>
            <pc:docMk/>
            <pc:sldMk cId="3713982638" sldId="2141411718"/>
            <ac:spMk id="2" creationId="{E165879F-E0CC-9B2A-552F-4EA142FD4473}"/>
          </ac:spMkLst>
        </pc:spChg>
        <pc:spChg chg="add mod">
          <ac:chgData name="Wang, Peili" userId="95f81b23-c812-470c-aca8-455e8f0787ab" providerId="ADAL" clId="{DDA70086-BF4D-4400-AED4-66595F1B9331}" dt="2025-05-19T17:27:54.758" v="2045" actId="1076"/>
          <ac:spMkLst>
            <pc:docMk/>
            <pc:sldMk cId="3713982638" sldId="2141411718"/>
            <ac:spMk id="7" creationId="{FE2C77B5-6A20-BAF6-06F9-BDD1384D1BED}"/>
          </ac:spMkLst>
        </pc:spChg>
        <pc:spChg chg="add mod">
          <ac:chgData name="Wang, Peili" userId="95f81b23-c812-470c-aca8-455e8f0787ab" providerId="ADAL" clId="{DDA70086-BF4D-4400-AED4-66595F1B9331}" dt="2025-05-19T17:27:01.687" v="2028" actId="1076"/>
          <ac:spMkLst>
            <pc:docMk/>
            <pc:sldMk cId="3713982638" sldId="2141411718"/>
            <ac:spMk id="16" creationId="{7F7055CC-AFCA-759A-E341-FC3D447C3804}"/>
          </ac:spMkLst>
        </pc:spChg>
        <pc:spChg chg="add mod">
          <ac:chgData name="Wang, Peili" userId="95f81b23-c812-470c-aca8-455e8f0787ab" providerId="ADAL" clId="{DDA70086-BF4D-4400-AED4-66595F1B9331}" dt="2025-05-19T17:27:27.698" v="2036" actId="1076"/>
          <ac:spMkLst>
            <pc:docMk/>
            <pc:sldMk cId="3713982638" sldId="2141411718"/>
            <ac:spMk id="17" creationId="{051D5442-B266-E95E-1D81-E6DFB18ACF85}"/>
          </ac:spMkLst>
        </pc:spChg>
        <pc:spChg chg="add mod">
          <ac:chgData name="Wang, Peili" userId="95f81b23-c812-470c-aca8-455e8f0787ab" providerId="ADAL" clId="{DDA70086-BF4D-4400-AED4-66595F1B9331}" dt="2025-05-19T17:28:17.388" v="2054" actId="14100"/>
          <ac:spMkLst>
            <pc:docMk/>
            <pc:sldMk cId="3713982638" sldId="2141411718"/>
            <ac:spMk id="18" creationId="{9FB26649-8935-4430-4F62-3C35F4353FF1}"/>
          </ac:spMkLst>
        </pc:spChg>
        <pc:spChg chg="add mod">
          <ac:chgData name="Wang, Peili" userId="95f81b23-c812-470c-aca8-455e8f0787ab" providerId="ADAL" clId="{DDA70086-BF4D-4400-AED4-66595F1B9331}" dt="2025-05-19T17:27:45.503" v="2042" actId="1076"/>
          <ac:spMkLst>
            <pc:docMk/>
            <pc:sldMk cId="3713982638" sldId="2141411718"/>
            <ac:spMk id="25" creationId="{23A2B807-8B70-7FA0-E409-873B4D052E3B}"/>
          </ac:spMkLst>
        </pc:spChg>
        <pc:picChg chg="add mod">
          <ac:chgData name="Wang, Peili" userId="95f81b23-c812-470c-aca8-455e8f0787ab" providerId="ADAL" clId="{DDA70086-BF4D-4400-AED4-66595F1B9331}" dt="2025-05-19T17:28:21.948" v="2055" actId="1076"/>
          <ac:picMkLst>
            <pc:docMk/>
            <pc:sldMk cId="3713982638" sldId="2141411718"/>
            <ac:picMk id="6" creationId="{8C782A9C-3B78-833D-A6AF-D7B4152C28DA}"/>
          </ac:picMkLst>
        </pc:picChg>
        <pc:picChg chg="add mod modCrop">
          <ac:chgData name="Wang, Peili" userId="95f81b23-c812-470c-aca8-455e8f0787ab" providerId="ADAL" clId="{DDA70086-BF4D-4400-AED4-66595F1B9331}" dt="2025-05-19T15:36:46.259" v="853" actId="1076"/>
          <ac:picMkLst>
            <pc:docMk/>
            <pc:sldMk cId="3713982638" sldId="2141411718"/>
            <ac:picMk id="15" creationId="{D0443F76-F8C3-2FEF-BE86-6789684AD582}"/>
          </ac:picMkLst>
        </pc:picChg>
        <pc:picChg chg="add mod">
          <ac:chgData name="Wang, Peili" userId="95f81b23-c812-470c-aca8-455e8f0787ab" providerId="ADAL" clId="{DDA70086-BF4D-4400-AED4-66595F1B9331}" dt="2025-05-19T17:28:29.237" v="2056" actId="1076"/>
          <ac:picMkLst>
            <pc:docMk/>
            <pc:sldMk cId="3713982638" sldId="2141411718"/>
            <ac:picMk id="21" creationId="{EADAA2B0-405E-B834-AE30-3064ABFDC705}"/>
          </ac:picMkLst>
        </pc:picChg>
      </pc:sldChg>
      <pc:sldChg chg="addSp delSp modSp add mod">
        <pc:chgData name="Wang, Peili" userId="95f81b23-c812-470c-aca8-455e8f0787ab" providerId="ADAL" clId="{DDA70086-BF4D-4400-AED4-66595F1B9331}" dt="2025-05-19T17:35:11.402" v="2108" actId="1076"/>
        <pc:sldMkLst>
          <pc:docMk/>
          <pc:sldMk cId="3602452852" sldId="2141411719"/>
        </pc:sldMkLst>
      </pc:sldChg>
      <pc:sldChg chg="add del">
        <pc:chgData name="Wang, Peili" userId="95f81b23-c812-470c-aca8-455e8f0787ab" providerId="ADAL" clId="{DDA70086-BF4D-4400-AED4-66595F1B9331}" dt="2025-05-19T15:28:14.930" v="809" actId="47"/>
        <pc:sldMkLst>
          <pc:docMk/>
          <pc:sldMk cId="1947693230" sldId="2141411720"/>
        </pc:sldMkLst>
      </pc:sldChg>
      <pc:sldChg chg="add">
        <pc:chgData name="Wang, Peili" userId="95f81b23-c812-470c-aca8-455e8f0787ab" providerId="ADAL" clId="{DDA70086-BF4D-4400-AED4-66595F1B9331}" dt="2025-05-19T16:27:37.882" v="1316"/>
        <pc:sldMkLst>
          <pc:docMk/>
          <pc:sldMk cId="2413854141" sldId="2141411720"/>
        </pc:sldMkLst>
      </pc:sldChg>
      <pc:sldChg chg="add">
        <pc:chgData name="Wang, Peili" userId="95f81b23-c812-470c-aca8-455e8f0787ab" providerId="ADAL" clId="{DDA70086-BF4D-4400-AED4-66595F1B9331}" dt="2025-05-19T16:41:28.404" v="1492"/>
        <pc:sldMkLst>
          <pc:docMk/>
          <pc:sldMk cId="1419919858" sldId="2141411721"/>
        </pc:sldMkLst>
      </pc:sldChg>
      <pc:sldChg chg="modSp new mod">
        <pc:chgData name="Wang, Peili" userId="95f81b23-c812-470c-aca8-455e8f0787ab" providerId="ADAL" clId="{DDA70086-BF4D-4400-AED4-66595F1B9331}" dt="2025-05-19T16:53:09.431" v="1929" actId="20577"/>
        <pc:sldMkLst>
          <pc:docMk/>
          <pc:sldMk cId="4191911985" sldId="2141411722"/>
        </pc:sldMkLst>
        <pc:spChg chg="mod">
          <ac:chgData name="Wang, Peili" userId="95f81b23-c812-470c-aca8-455e8f0787ab" providerId="ADAL" clId="{DDA70086-BF4D-4400-AED4-66595F1B9331}" dt="2025-05-19T16:50:31.819" v="1895" actId="20577"/>
          <ac:spMkLst>
            <pc:docMk/>
            <pc:sldMk cId="4191911985" sldId="2141411722"/>
            <ac:spMk id="2" creationId="{350603A6-BE2D-3081-17A4-0B774B83FCC0}"/>
          </ac:spMkLst>
        </pc:spChg>
        <pc:spChg chg="mod">
          <ac:chgData name="Wang, Peili" userId="95f81b23-c812-470c-aca8-455e8f0787ab" providerId="ADAL" clId="{DDA70086-BF4D-4400-AED4-66595F1B9331}" dt="2025-05-19T16:53:09.431" v="1929" actId="20577"/>
          <ac:spMkLst>
            <pc:docMk/>
            <pc:sldMk cId="4191911985" sldId="2141411722"/>
            <ac:spMk id="3" creationId="{5D4F2A84-14B3-5837-2041-7A7D6D84FEE6}"/>
          </ac:spMkLst>
        </pc:spChg>
      </pc:sldChg>
    </pc:docChg>
  </pc:docChgLst>
  <pc:docChgLst>
    <pc:chgData name="Wang, Peili" userId="95f81b23-c812-470c-aca8-455e8f0787ab" providerId="ADAL" clId="{911006E3-7A7D-42E1-BCFC-74E27710C6A7}"/>
    <pc:docChg chg="modSld">
      <pc:chgData name="Wang, Peili" userId="95f81b23-c812-470c-aca8-455e8f0787ab" providerId="ADAL" clId="{911006E3-7A7D-42E1-BCFC-74E27710C6A7}" dt="2025-05-19T19:50:31.328" v="14" actId="164"/>
      <pc:docMkLst>
        <pc:docMk/>
      </pc:docMkLst>
      <pc:sldChg chg="modSp mod">
        <pc:chgData name="Wang, Peili" userId="95f81b23-c812-470c-aca8-455e8f0787ab" providerId="ADAL" clId="{911006E3-7A7D-42E1-BCFC-74E27710C6A7}" dt="2025-05-19T19:49:20.785" v="10" actId="20577"/>
        <pc:sldMkLst>
          <pc:docMk/>
          <pc:sldMk cId="3156788896" sldId="2141411704"/>
        </pc:sldMkLst>
        <pc:spChg chg="mod">
          <ac:chgData name="Wang, Peili" userId="95f81b23-c812-470c-aca8-455e8f0787ab" providerId="ADAL" clId="{911006E3-7A7D-42E1-BCFC-74E27710C6A7}" dt="2025-05-19T19:49:20.785" v="10" actId="20577"/>
          <ac:spMkLst>
            <pc:docMk/>
            <pc:sldMk cId="3156788896" sldId="2141411704"/>
            <ac:spMk id="25" creationId="{9813C2B6-B2AC-8E0D-F01C-256048AEB7E1}"/>
          </ac:spMkLst>
        </pc:spChg>
      </pc:sldChg>
      <pc:sldChg chg="modSp mod">
        <pc:chgData name="Wang, Peili" userId="95f81b23-c812-470c-aca8-455e8f0787ab" providerId="ADAL" clId="{911006E3-7A7D-42E1-BCFC-74E27710C6A7}" dt="2025-05-19T19:49:44.734" v="11" actId="20577"/>
        <pc:sldMkLst>
          <pc:docMk/>
          <pc:sldMk cId="1003475791" sldId="2141411707"/>
        </pc:sldMkLst>
        <pc:spChg chg="mod">
          <ac:chgData name="Wang, Peili" userId="95f81b23-c812-470c-aca8-455e8f0787ab" providerId="ADAL" clId="{911006E3-7A7D-42E1-BCFC-74E27710C6A7}" dt="2025-05-19T19:49:44.734" v="11" actId="20577"/>
          <ac:spMkLst>
            <pc:docMk/>
            <pc:sldMk cId="1003475791" sldId="2141411707"/>
            <ac:spMk id="6" creationId="{4CAF94C9-DC97-7B80-7EE5-08BCD9AC511D}"/>
          </ac:spMkLst>
        </pc:spChg>
      </pc:sldChg>
      <pc:sldChg chg="modSp mod">
        <pc:chgData name="Wang, Peili" userId="95f81b23-c812-470c-aca8-455e8f0787ab" providerId="ADAL" clId="{911006E3-7A7D-42E1-BCFC-74E27710C6A7}" dt="2025-05-19T19:48:52.796" v="0" actId="1076"/>
        <pc:sldMkLst>
          <pc:docMk/>
          <pc:sldMk cId="1707480365" sldId="2141411714"/>
        </pc:sldMkLst>
        <pc:spChg chg="mod">
          <ac:chgData name="Wang, Peili" userId="95f81b23-c812-470c-aca8-455e8f0787ab" providerId="ADAL" clId="{911006E3-7A7D-42E1-BCFC-74E27710C6A7}" dt="2025-05-19T19:48:52.796" v="0" actId="1076"/>
          <ac:spMkLst>
            <pc:docMk/>
            <pc:sldMk cId="1707480365" sldId="2141411714"/>
            <ac:spMk id="5" creationId="{217C4FE8-5D31-9559-DB05-E537A0A7A9E4}"/>
          </ac:spMkLst>
        </pc:spChg>
      </pc:sldChg>
      <pc:sldChg chg="addSp modSp">
        <pc:chgData name="Wang, Peili" userId="95f81b23-c812-470c-aca8-455e8f0787ab" providerId="ADAL" clId="{911006E3-7A7D-42E1-BCFC-74E27710C6A7}" dt="2025-05-19T19:50:31.328" v="14" actId="164"/>
        <pc:sldMkLst>
          <pc:docMk/>
          <pc:sldMk cId="3713982638" sldId="2141411718"/>
        </pc:sldMkLst>
        <pc:spChg chg="mod">
          <ac:chgData name="Wang, Peili" userId="95f81b23-c812-470c-aca8-455e8f0787ab" providerId="ADAL" clId="{911006E3-7A7D-42E1-BCFC-74E27710C6A7}" dt="2025-05-19T19:50:17.806" v="12" actId="164"/>
          <ac:spMkLst>
            <pc:docMk/>
            <pc:sldMk cId="3713982638" sldId="2141411718"/>
            <ac:spMk id="16" creationId="{7F7055CC-AFCA-759A-E341-FC3D447C3804}"/>
          </ac:spMkLst>
        </pc:spChg>
        <pc:spChg chg="mod">
          <ac:chgData name="Wang, Peili" userId="95f81b23-c812-470c-aca8-455e8f0787ab" providerId="ADAL" clId="{911006E3-7A7D-42E1-BCFC-74E27710C6A7}" dt="2025-05-19T19:50:26.214" v="13" actId="164"/>
          <ac:spMkLst>
            <pc:docMk/>
            <pc:sldMk cId="3713982638" sldId="2141411718"/>
            <ac:spMk id="17" creationId="{051D5442-B266-E95E-1D81-E6DFB18ACF85}"/>
          </ac:spMkLst>
        </pc:spChg>
        <pc:spChg chg="mod">
          <ac:chgData name="Wang, Peili" userId="95f81b23-c812-470c-aca8-455e8f0787ab" providerId="ADAL" clId="{911006E3-7A7D-42E1-BCFC-74E27710C6A7}" dt="2025-05-19T19:50:31.328" v="14" actId="164"/>
          <ac:spMkLst>
            <pc:docMk/>
            <pc:sldMk cId="3713982638" sldId="2141411718"/>
            <ac:spMk id="18" creationId="{9FB26649-8935-4430-4F62-3C35F4353FF1}"/>
          </ac:spMkLst>
        </pc:spChg>
        <pc:spChg chg="mod">
          <ac:chgData name="Wang, Peili" userId="95f81b23-c812-470c-aca8-455e8f0787ab" providerId="ADAL" clId="{911006E3-7A7D-42E1-BCFC-74E27710C6A7}" dt="2025-05-19T19:50:26.214" v="13" actId="164"/>
          <ac:spMkLst>
            <pc:docMk/>
            <pc:sldMk cId="3713982638" sldId="2141411718"/>
            <ac:spMk id="25" creationId="{23A2B807-8B70-7FA0-E409-873B4D052E3B}"/>
          </ac:spMkLst>
        </pc:spChg>
        <pc:grpChg chg="add mod">
          <ac:chgData name="Wang, Peili" userId="95f81b23-c812-470c-aca8-455e8f0787ab" providerId="ADAL" clId="{911006E3-7A7D-42E1-BCFC-74E27710C6A7}" dt="2025-05-19T19:50:17.806" v="12" actId="164"/>
          <ac:grpSpMkLst>
            <pc:docMk/>
            <pc:sldMk cId="3713982638" sldId="2141411718"/>
            <ac:grpSpMk id="3" creationId="{7BAC54F1-C7C8-B639-609D-267C02A08D0F}"/>
          </ac:grpSpMkLst>
        </pc:grpChg>
        <pc:grpChg chg="add mod">
          <ac:chgData name="Wang, Peili" userId="95f81b23-c812-470c-aca8-455e8f0787ab" providerId="ADAL" clId="{911006E3-7A7D-42E1-BCFC-74E27710C6A7}" dt="2025-05-19T19:50:26.214" v="13" actId="164"/>
          <ac:grpSpMkLst>
            <pc:docMk/>
            <pc:sldMk cId="3713982638" sldId="2141411718"/>
            <ac:grpSpMk id="4" creationId="{CDBB8531-BDF0-9E08-89B2-050D36455FEE}"/>
          </ac:grpSpMkLst>
        </pc:grpChg>
        <pc:picChg chg="mod">
          <ac:chgData name="Wang, Peili" userId="95f81b23-c812-470c-aca8-455e8f0787ab" providerId="ADAL" clId="{911006E3-7A7D-42E1-BCFC-74E27710C6A7}" dt="2025-05-19T19:50:26.214" v="13" actId="164"/>
          <ac:picMkLst>
            <pc:docMk/>
            <pc:sldMk cId="3713982638" sldId="2141411718"/>
            <ac:picMk id="6" creationId="{8C782A9C-3B78-833D-A6AF-D7B4152C28DA}"/>
          </ac:picMkLst>
        </pc:picChg>
        <pc:picChg chg="mod">
          <ac:chgData name="Wang, Peili" userId="95f81b23-c812-470c-aca8-455e8f0787ab" providerId="ADAL" clId="{911006E3-7A7D-42E1-BCFC-74E27710C6A7}" dt="2025-05-19T19:50:17.806" v="12" actId="164"/>
          <ac:picMkLst>
            <pc:docMk/>
            <pc:sldMk cId="3713982638" sldId="2141411718"/>
            <ac:picMk id="15" creationId="{D0443F76-F8C3-2FEF-BE86-6789684AD582}"/>
          </ac:picMkLst>
        </pc:picChg>
        <pc:picChg chg="mod">
          <ac:chgData name="Wang, Peili" userId="95f81b23-c812-470c-aca8-455e8f0787ab" providerId="ADAL" clId="{911006E3-7A7D-42E1-BCFC-74E27710C6A7}" dt="2025-05-19T19:50:17.806" v="12" actId="164"/>
          <ac:picMkLst>
            <pc:docMk/>
            <pc:sldMk cId="3713982638" sldId="2141411718"/>
            <ac:picMk id="21" creationId="{EADAA2B0-405E-B834-AE30-3064ABFDC705}"/>
          </ac:picMkLst>
        </pc:picChg>
      </pc:sldChg>
    </pc:docChg>
  </pc:docChgLst>
  <pc:docChgLst>
    <pc:chgData name="Brickey, Katie" userId="af038014-3741-464f-a556-168c59a3292a" providerId="ADAL" clId="{079A71D6-57BA-44AA-9958-449D86CF65E6}"/>
    <pc:docChg chg="modSld">
      <pc:chgData name="Brickey, Katie" userId="af038014-3741-464f-a556-168c59a3292a" providerId="ADAL" clId="{079A71D6-57BA-44AA-9958-449D86CF65E6}" dt="2025-05-19T15:38:50.843" v="226"/>
      <pc:docMkLst>
        <pc:docMk/>
      </pc:docMkLst>
      <pc:sldChg chg="modSp mod">
        <pc:chgData name="Brickey, Katie" userId="af038014-3741-464f-a556-168c59a3292a" providerId="ADAL" clId="{079A71D6-57BA-44AA-9958-449D86CF65E6}" dt="2025-05-19T15:30:55.047" v="4" actId="20577"/>
        <pc:sldMkLst>
          <pc:docMk/>
          <pc:sldMk cId="3957938303" sldId="2141411664"/>
        </pc:sldMkLst>
        <pc:spChg chg="mod">
          <ac:chgData name="Brickey, Katie" userId="af038014-3741-464f-a556-168c59a3292a" providerId="ADAL" clId="{079A71D6-57BA-44AA-9958-449D86CF65E6}" dt="2025-05-19T15:30:43.365" v="2" actId="20577"/>
          <ac:spMkLst>
            <pc:docMk/>
            <pc:sldMk cId="3957938303" sldId="2141411664"/>
            <ac:spMk id="10" creationId="{45ACA124-1645-86D9-9322-3BC88BE9424D}"/>
          </ac:spMkLst>
        </pc:spChg>
      </pc:sldChg>
      <pc:sldChg chg="modSp mod">
        <pc:chgData name="Brickey, Katie" userId="af038014-3741-464f-a556-168c59a3292a" providerId="ADAL" clId="{079A71D6-57BA-44AA-9958-449D86CF65E6}" dt="2025-05-19T15:33:13.002" v="7" actId="20577"/>
        <pc:sldMkLst>
          <pc:docMk/>
          <pc:sldMk cId="231990289" sldId="2141411701"/>
        </pc:sldMkLst>
        <pc:spChg chg="mod">
          <ac:chgData name="Brickey, Katie" userId="af038014-3741-464f-a556-168c59a3292a" providerId="ADAL" clId="{079A71D6-57BA-44AA-9958-449D86CF65E6}" dt="2025-05-19T15:33:13.002" v="7" actId="20577"/>
          <ac:spMkLst>
            <pc:docMk/>
            <pc:sldMk cId="231990289" sldId="2141411701"/>
            <ac:spMk id="7" creationId="{73CA1D66-77EC-490C-65F1-2712B8D86F0D}"/>
          </ac:spMkLst>
        </pc:spChg>
      </pc:sldChg>
      <pc:sldChg chg="modSp mod">
        <pc:chgData name="Brickey, Katie" userId="af038014-3741-464f-a556-168c59a3292a" providerId="ADAL" clId="{079A71D6-57BA-44AA-9958-449D86CF65E6}" dt="2025-05-19T15:28:56.198" v="0" actId="20577"/>
        <pc:sldMkLst>
          <pc:docMk/>
          <pc:sldMk cId="3156788896" sldId="2141411704"/>
        </pc:sldMkLst>
        <pc:spChg chg="mod">
          <ac:chgData name="Brickey, Katie" userId="af038014-3741-464f-a556-168c59a3292a" providerId="ADAL" clId="{079A71D6-57BA-44AA-9958-449D86CF65E6}" dt="2025-05-19T15:28:56.198" v="0" actId="20577"/>
          <ac:spMkLst>
            <pc:docMk/>
            <pc:sldMk cId="3156788896" sldId="2141411704"/>
            <ac:spMk id="25" creationId="{9813C2B6-B2AC-8E0D-F01C-256048AEB7E1}"/>
          </ac:spMkLst>
        </pc:spChg>
      </pc:sldChg>
      <pc:sldChg chg="modSp mod">
        <pc:chgData name="Brickey, Katie" userId="af038014-3741-464f-a556-168c59a3292a" providerId="ADAL" clId="{079A71D6-57BA-44AA-9958-449D86CF65E6}" dt="2025-05-19T15:38:50.843" v="226"/>
        <pc:sldMkLst>
          <pc:docMk/>
          <pc:sldMk cId="3164315827" sldId="2141411716"/>
        </pc:sldMkLst>
        <pc:spChg chg="mod">
          <ac:chgData name="Brickey, Katie" userId="af038014-3741-464f-a556-168c59a3292a" providerId="ADAL" clId="{079A71D6-57BA-44AA-9958-449D86CF65E6}" dt="2025-05-19T15:38:50.843" v="226"/>
          <ac:spMkLst>
            <pc:docMk/>
            <pc:sldMk cId="3164315827" sldId="2141411716"/>
            <ac:spMk id="3" creationId="{8D40DA9E-A5B8-6C1C-9C33-811119203282}"/>
          </ac:spMkLst>
        </pc:spChg>
      </pc:sldChg>
    </pc:docChg>
  </pc:docChgLst>
  <pc:docChgLst>
    <pc:chgData name="Brickey, Katie" userId="S::brickk@pfizer.com::af038014-3741-464f-a556-168c59a3292a" providerId="AD" clId="Web-{67CC7BF7-2C68-5A41-5AA2-AAA32B074159}"/>
    <pc:docChg chg="modSld">
      <pc:chgData name="Brickey, Katie" userId="S::brickk@pfizer.com::af038014-3741-464f-a556-168c59a3292a" providerId="AD" clId="Web-{67CC7BF7-2C68-5A41-5AA2-AAA32B074159}" dt="2025-05-23T00:44:04.449" v="27" actId="20577"/>
      <pc:docMkLst>
        <pc:docMk/>
      </pc:docMkLst>
      <pc:sldChg chg="modSp">
        <pc:chgData name="Brickey, Katie" userId="S::brickk@pfizer.com::af038014-3741-464f-a556-168c59a3292a" providerId="AD" clId="Web-{67CC7BF7-2C68-5A41-5AA2-AAA32B074159}" dt="2025-05-23T00:44:04.449" v="27" actId="20577"/>
        <pc:sldMkLst>
          <pc:docMk/>
          <pc:sldMk cId="4191911985" sldId="2141411722"/>
        </pc:sldMkLst>
        <pc:spChg chg="mod">
          <ac:chgData name="Brickey, Katie" userId="S::brickk@pfizer.com::af038014-3741-464f-a556-168c59a3292a" providerId="AD" clId="Web-{67CC7BF7-2C68-5A41-5AA2-AAA32B074159}" dt="2025-05-23T00:44:04.449" v="27" actId="20577"/>
          <ac:spMkLst>
            <pc:docMk/>
            <pc:sldMk cId="4191911985" sldId="2141411722"/>
            <ac:spMk id="2" creationId="{350603A6-BE2D-3081-17A4-0B774B83FCC0}"/>
          </ac:spMkLst>
        </pc:spChg>
      </pc:sldChg>
      <pc:sldChg chg="modSp">
        <pc:chgData name="Brickey, Katie" userId="S::brickk@pfizer.com::af038014-3741-464f-a556-168c59a3292a" providerId="AD" clId="Web-{67CC7BF7-2C68-5A41-5AA2-AAA32B074159}" dt="2025-05-23T00:43:40.557" v="22" actId="20577"/>
        <pc:sldMkLst>
          <pc:docMk/>
          <pc:sldMk cId="2561756632" sldId="2141411724"/>
        </pc:sldMkLst>
        <pc:spChg chg="mod">
          <ac:chgData name="Brickey, Katie" userId="S::brickk@pfizer.com::af038014-3741-464f-a556-168c59a3292a" providerId="AD" clId="Web-{67CC7BF7-2C68-5A41-5AA2-AAA32B074159}" dt="2025-05-23T00:43:40.557" v="22" actId="20577"/>
          <ac:spMkLst>
            <pc:docMk/>
            <pc:sldMk cId="2561756632" sldId="2141411724"/>
            <ac:spMk id="3" creationId="{7E402536-2D81-656B-6BF2-D30AF342965F}"/>
          </ac:spMkLst>
        </pc:spChg>
      </pc:sldChg>
    </pc:docChg>
  </pc:docChgLst>
  <pc:docChgLst>
    <pc:chgData name="Wang, Peili" userId="S::wangp103@pfizer.com::95f81b23-c812-470c-aca8-455e8f0787ab" providerId="AD" clId="Web-{C3AE95C6-2860-A844-E639-B6F9BD5F4394}"/>
    <pc:docChg chg="modSld">
      <pc:chgData name="Wang, Peili" userId="S::wangp103@pfizer.com::95f81b23-c812-470c-aca8-455e8f0787ab" providerId="AD" clId="Web-{C3AE95C6-2860-A844-E639-B6F9BD5F4394}" dt="2025-05-07T14:00:10.063" v="0" actId="1076"/>
      <pc:docMkLst>
        <pc:docMk/>
      </pc:docMkLst>
      <pc:sldChg chg="modSp">
        <pc:chgData name="Wang, Peili" userId="S::wangp103@pfizer.com::95f81b23-c812-470c-aca8-455e8f0787ab" providerId="AD" clId="Web-{C3AE95C6-2860-A844-E639-B6F9BD5F4394}" dt="2025-05-07T14:00:10.063" v="0" actId="1076"/>
        <pc:sldMkLst>
          <pc:docMk/>
          <pc:sldMk cId="338016616" sldId="2141411690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4673BF-02CB-4AA8-8D71-405799D70B0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78F46AC-66EE-4FD7-AED6-A0D9DC8E911D}">
      <dgm:prSet phldrT="[Text]"/>
      <dgm:spPr/>
      <dgm:t>
        <a:bodyPr/>
        <a:lstStyle/>
        <a:p>
          <a:r>
            <a:rPr lang="en-US" b="1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Dimensions</a:t>
          </a:r>
          <a:endParaRPr lang="en-US"/>
        </a:p>
      </dgm:t>
    </dgm:pt>
    <dgm:pt modelId="{E994A647-A7D2-4F09-A6F5-FA00FDDBAD8C}" type="parTrans" cxnId="{D90B8E1D-A1D2-4E23-9552-9CD71260CCDD}">
      <dgm:prSet/>
      <dgm:spPr/>
      <dgm:t>
        <a:bodyPr/>
        <a:lstStyle/>
        <a:p>
          <a:endParaRPr lang="en-US"/>
        </a:p>
      </dgm:t>
    </dgm:pt>
    <dgm:pt modelId="{C4CF469B-E93F-4999-9F46-52B5DD564A10}" type="sibTrans" cxnId="{D90B8E1D-A1D2-4E23-9552-9CD71260CCDD}">
      <dgm:prSet/>
      <dgm:spPr/>
      <dgm:t>
        <a:bodyPr/>
        <a:lstStyle/>
        <a:p>
          <a:endParaRPr lang="en-US"/>
        </a:p>
      </dgm:t>
    </dgm:pt>
    <dgm:pt modelId="{F19EE299-CB5B-477A-8B53-09141A743677}">
      <dgm:prSet phldrT="[Text]"/>
      <dgm:spPr/>
      <dgm:t>
        <a:bodyPr/>
        <a:lstStyle/>
        <a:p>
          <a:r>
            <a:rPr lang="en-US" b="1" dirty="0">
              <a:solidFill>
                <a:schemeClr val="bg2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Studies/ </a:t>
          </a:r>
          <a:r>
            <a:rPr lang="en-US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Molecules / </a:t>
          </a:r>
          <a:r>
            <a:rPr lang="en-US" b="1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Compounds</a:t>
          </a:r>
          <a:endParaRPr lang="en-US" b="1" dirty="0">
            <a:solidFill>
              <a:schemeClr val="bg2"/>
            </a:solidFill>
          </a:endParaRPr>
        </a:p>
      </dgm:t>
    </dgm:pt>
    <dgm:pt modelId="{66A850DD-CF7C-4519-BECB-D2758BBD2295}" type="sibTrans" cxnId="{6A05A6A2-9DEA-4217-BDA0-5973B299F086}">
      <dgm:prSet/>
      <dgm:spPr/>
      <dgm:t>
        <a:bodyPr/>
        <a:lstStyle/>
        <a:p>
          <a:endParaRPr lang="en-US"/>
        </a:p>
      </dgm:t>
    </dgm:pt>
    <dgm:pt modelId="{338A0EDC-5B7E-468C-A16F-DC10A1C9DEE1}" type="parTrans" cxnId="{6A05A6A2-9DEA-4217-BDA0-5973B299F086}">
      <dgm:prSet/>
      <dgm:spPr/>
      <dgm:t>
        <a:bodyPr/>
        <a:lstStyle/>
        <a:p>
          <a:endParaRPr lang="en-US"/>
        </a:p>
      </dgm:t>
    </dgm:pt>
    <dgm:pt modelId="{B7FC9E0B-5645-4883-B4F9-6DE51E92B9F3}">
      <dgm:prSet phldrT="[Text]" custT="1"/>
      <dgm:spPr>
        <a:solidFill>
          <a:srgbClr val="0000C9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91440" tIns="45720" rIns="91440" bIns="45720" numCol="1" spcCol="1270" anchor="ctr" anchorCtr="0"/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400" b="1" kern="1200" dirty="0">
              <a:solidFill>
                <a:srgbClr val="FFFFFF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Difficulties:</a:t>
          </a:r>
          <a:br>
            <a:rPr lang="en-US" sz="2400" b="1" kern="1200" dirty="0">
              <a:solidFill>
                <a:srgbClr val="FFFFFF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</a:br>
          <a:r>
            <a:rPr lang="en-US" sz="2400" b="1" kern="1200" dirty="0">
              <a:solidFill>
                <a:srgbClr val="FFFFFF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Inconsistency cross studies</a:t>
          </a:r>
        </a:p>
      </dgm:t>
    </dgm:pt>
    <dgm:pt modelId="{49CFBCF7-9B85-4F44-B778-A792DB61CB15}" type="sibTrans" cxnId="{A0818E2E-648C-4BA8-A389-FCA4EB68C355}">
      <dgm:prSet/>
      <dgm:spPr/>
      <dgm:t>
        <a:bodyPr/>
        <a:lstStyle/>
        <a:p>
          <a:endParaRPr lang="en-US"/>
        </a:p>
      </dgm:t>
    </dgm:pt>
    <dgm:pt modelId="{B9119C4E-4E45-4481-A571-CAE470B7C02E}" type="parTrans" cxnId="{A0818E2E-648C-4BA8-A389-FCA4EB68C355}">
      <dgm:prSet/>
      <dgm:spPr/>
      <dgm:t>
        <a:bodyPr/>
        <a:lstStyle/>
        <a:p>
          <a:endParaRPr lang="en-US"/>
        </a:p>
      </dgm:t>
    </dgm:pt>
    <dgm:pt modelId="{BD06251E-0533-4EFC-B883-673AC7359605}">
      <dgm:prSet/>
      <dgm:spPr/>
      <dgm:t>
        <a:bodyPr/>
        <a:lstStyle/>
        <a:p>
          <a:r>
            <a:rPr lang="en-US" dirty="0">
              <a:cs typeface="Arial"/>
            </a:rPr>
            <a:t>Not all compounds study the same attributes. </a:t>
          </a:r>
          <a:endParaRPr lang="en-US" dirty="0"/>
        </a:p>
      </dgm:t>
    </dgm:pt>
    <dgm:pt modelId="{7847737A-F66A-4C42-B219-7916409BAB7F}" type="parTrans" cxnId="{7525A8EE-D3B8-4940-9D9F-E77DED9CFE99}">
      <dgm:prSet/>
      <dgm:spPr/>
      <dgm:t>
        <a:bodyPr/>
        <a:lstStyle/>
        <a:p>
          <a:endParaRPr lang="en-US"/>
        </a:p>
      </dgm:t>
    </dgm:pt>
    <dgm:pt modelId="{32AE8CE7-49AA-4A80-8C05-789EB4C9E9C5}" type="sibTrans" cxnId="{7525A8EE-D3B8-4940-9D9F-E77DED9CFE99}">
      <dgm:prSet/>
      <dgm:spPr/>
      <dgm:t>
        <a:bodyPr/>
        <a:lstStyle/>
        <a:p>
          <a:endParaRPr lang="en-US"/>
        </a:p>
      </dgm:t>
    </dgm:pt>
    <dgm:pt modelId="{50C88DC7-A0A7-44E9-94C8-C06702E80091}">
      <dgm:prSet/>
      <dgm:spPr/>
      <dgm:t>
        <a:bodyPr/>
        <a:lstStyle/>
        <a:p>
          <a:r>
            <a:rPr lang="en-US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Outputs  /</a:t>
          </a:r>
          <a:r>
            <a:rPr lang="en-US" b="1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 Attributes </a:t>
          </a:r>
          <a:r>
            <a:rPr lang="en-US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/ Y variables</a:t>
          </a:r>
        </a:p>
      </dgm:t>
    </dgm:pt>
    <dgm:pt modelId="{C5E915A2-B9BF-41B5-8775-E70BEFAA6FD1}" type="parTrans" cxnId="{A1AF8944-CCB2-4439-BCA3-93DE62BE285D}">
      <dgm:prSet/>
      <dgm:spPr/>
      <dgm:t>
        <a:bodyPr/>
        <a:lstStyle/>
        <a:p>
          <a:endParaRPr lang="en-US"/>
        </a:p>
      </dgm:t>
    </dgm:pt>
    <dgm:pt modelId="{2F18C920-8AC4-4FFA-9D71-551A44AF6BBF}" type="sibTrans" cxnId="{A1AF8944-CCB2-4439-BCA3-93DE62BE285D}">
      <dgm:prSet/>
      <dgm:spPr/>
      <dgm:t>
        <a:bodyPr/>
        <a:lstStyle/>
        <a:p>
          <a:endParaRPr lang="en-US"/>
        </a:p>
      </dgm:t>
    </dgm:pt>
    <dgm:pt modelId="{5EC77ECC-6604-4301-B96D-5142E0182F5D}">
      <dgm:prSet/>
      <dgm:spPr/>
      <dgm:t>
        <a:bodyPr/>
        <a:lstStyle/>
        <a:p>
          <a:r>
            <a:rPr lang="en-US">
              <a:cs typeface="Arial"/>
            </a:rPr>
            <a:t>Each attribute variation could be different</a:t>
          </a:r>
          <a:endParaRPr lang="en-US"/>
        </a:p>
      </dgm:t>
    </dgm:pt>
    <dgm:pt modelId="{D618E832-67D5-42A1-81D8-1014B055811D}" type="parTrans" cxnId="{EE37F46D-C73B-4286-BE4F-87D3014757AA}">
      <dgm:prSet/>
      <dgm:spPr/>
      <dgm:t>
        <a:bodyPr/>
        <a:lstStyle/>
        <a:p>
          <a:endParaRPr lang="en-US"/>
        </a:p>
      </dgm:t>
    </dgm:pt>
    <dgm:pt modelId="{A0322623-D7FB-4955-9BCB-C49096E50068}" type="sibTrans" cxnId="{EE37F46D-C73B-4286-BE4F-87D3014757AA}">
      <dgm:prSet/>
      <dgm:spPr/>
      <dgm:t>
        <a:bodyPr/>
        <a:lstStyle/>
        <a:p>
          <a:endParaRPr lang="en-US"/>
        </a:p>
      </dgm:t>
    </dgm:pt>
    <dgm:pt modelId="{B3AD99A4-883C-4AC8-83A3-ED4337360344}">
      <dgm:prSet/>
      <dgm:spPr/>
      <dgm:t>
        <a:bodyPr/>
        <a:lstStyle/>
        <a:p>
          <a:r>
            <a:rPr lang="en-US" dirty="0">
              <a:cs typeface="Arial"/>
            </a:rPr>
            <a:t>Not all compounds study the same process parameters within the same ranges.</a:t>
          </a:r>
          <a:endParaRPr lang="en-US" dirty="0"/>
        </a:p>
      </dgm:t>
    </dgm:pt>
    <dgm:pt modelId="{57DADB36-9B82-4838-882A-9E4A769EB239}" type="parTrans" cxnId="{9D70B57C-A701-4D1E-B45D-432317902205}">
      <dgm:prSet/>
      <dgm:spPr/>
      <dgm:t>
        <a:bodyPr/>
        <a:lstStyle/>
        <a:p>
          <a:endParaRPr lang="en-US"/>
        </a:p>
      </dgm:t>
    </dgm:pt>
    <dgm:pt modelId="{7AFE0BD3-6560-409D-8F66-B86C2615FF18}" type="sibTrans" cxnId="{9D70B57C-A701-4D1E-B45D-432317902205}">
      <dgm:prSet/>
      <dgm:spPr/>
      <dgm:t>
        <a:bodyPr/>
        <a:lstStyle/>
        <a:p>
          <a:endParaRPr lang="en-US"/>
        </a:p>
      </dgm:t>
    </dgm:pt>
    <dgm:pt modelId="{A7A1B69C-B3F3-4C82-ACD7-3F848F377BF6}">
      <dgm:prSet/>
      <dgm:spPr/>
      <dgm:t>
        <a:bodyPr/>
        <a:lstStyle/>
        <a:p>
          <a:r>
            <a:rPr lang="en-US"/>
            <a:t>Different design resolution </a:t>
          </a:r>
        </a:p>
      </dgm:t>
    </dgm:pt>
    <dgm:pt modelId="{B94D9465-E073-47DE-99F2-3AAB1896DFD5}" type="parTrans" cxnId="{42D6CEA2-77B7-466A-947E-E407832BE7C5}">
      <dgm:prSet/>
      <dgm:spPr/>
      <dgm:t>
        <a:bodyPr/>
        <a:lstStyle/>
        <a:p>
          <a:endParaRPr lang="en-US"/>
        </a:p>
      </dgm:t>
    </dgm:pt>
    <dgm:pt modelId="{D1E95ACE-BD5A-46E2-83AC-3C76979C6140}" type="sibTrans" cxnId="{42D6CEA2-77B7-466A-947E-E407832BE7C5}">
      <dgm:prSet/>
      <dgm:spPr/>
      <dgm:t>
        <a:bodyPr/>
        <a:lstStyle/>
        <a:p>
          <a:endParaRPr lang="en-US"/>
        </a:p>
      </dgm:t>
    </dgm:pt>
    <dgm:pt modelId="{431225B0-8523-4B50-BA17-64E9FDB925AE}">
      <dgm:prSet/>
      <dgm:spPr/>
      <dgm:t>
        <a:bodyPr/>
        <a:lstStyle/>
        <a:p>
          <a:r>
            <a:rPr lang="en-US">
              <a:cs typeface="Arial"/>
            </a:rPr>
            <a:t>Data formatting issues: names, units.</a:t>
          </a:r>
          <a:endParaRPr lang="en-US"/>
        </a:p>
      </dgm:t>
    </dgm:pt>
    <dgm:pt modelId="{BA982F1E-8735-4C7D-8517-4EE1749E9102}" type="parTrans" cxnId="{501D4FAC-0E60-4479-8E80-B5AA5F4A2F01}">
      <dgm:prSet/>
      <dgm:spPr/>
      <dgm:t>
        <a:bodyPr/>
        <a:lstStyle/>
        <a:p>
          <a:endParaRPr lang="en-US"/>
        </a:p>
      </dgm:t>
    </dgm:pt>
    <dgm:pt modelId="{8F27746C-51F8-4E11-BCB9-4E0A3B7F165E}" type="sibTrans" cxnId="{501D4FAC-0E60-4479-8E80-B5AA5F4A2F01}">
      <dgm:prSet/>
      <dgm:spPr/>
      <dgm:t>
        <a:bodyPr/>
        <a:lstStyle/>
        <a:p>
          <a:endParaRPr lang="en-US"/>
        </a:p>
      </dgm:t>
    </dgm:pt>
    <dgm:pt modelId="{391919F2-E3EF-4432-A785-2D38393D84A9}">
      <dgm:prSet/>
      <dgm:spPr/>
      <dgm:t>
        <a:bodyPr/>
        <a:lstStyle/>
        <a:p>
          <a:r>
            <a:rPr lang="en-US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Inputs / </a:t>
          </a:r>
          <a:r>
            <a:rPr lang="en-US" b="1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Process Parameters / Factors </a:t>
          </a:r>
          <a:r>
            <a:rPr lang="en-US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/ X variables</a:t>
          </a:r>
        </a:p>
      </dgm:t>
    </dgm:pt>
    <dgm:pt modelId="{295A65FC-EA8F-4351-8EE6-12BB99AF6560}" type="sibTrans" cxnId="{19587477-5322-4EE8-92B1-E3188C45798D}">
      <dgm:prSet/>
      <dgm:spPr/>
      <dgm:t>
        <a:bodyPr/>
        <a:lstStyle/>
        <a:p>
          <a:endParaRPr lang="en-US"/>
        </a:p>
      </dgm:t>
    </dgm:pt>
    <dgm:pt modelId="{E47C0FA9-7AAC-422A-9B26-4C209E0377E3}" type="parTrans" cxnId="{19587477-5322-4EE8-92B1-E3188C45798D}">
      <dgm:prSet/>
      <dgm:spPr/>
      <dgm:t>
        <a:bodyPr/>
        <a:lstStyle/>
        <a:p>
          <a:endParaRPr lang="en-US"/>
        </a:p>
      </dgm:t>
    </dgm:pt>
    <dgm:pt modelId="{E3EC540D-CCD9-4726-849B-CF28E2D096B7}" type="pres">
      <dgm:prSet presAssocID="{804673BF-02CB-4AA8-8D71-405799D70B07}" presName="Name0" presStyleCnt="0">
        <dgm:presLayoutVars>
          <dgm:dir/>
          <dgm:animLvl val="lvl"/>
          <dgm:resizeHandles val="exact"/>
        </dgm:presLayoutVars>
      </dgm:prSet>
      <dgm:spPr/>
    </dgm:pt>
    <dgm:pt modelId="{B5D47474-7A78-4820-9BFD-AE368DFE0D74}" type="pres">
      <dgm:prSet presAssocID="{D78F46AC-66EE-4FD7-AED6-A0D9DC8E911D}" presName="linNode" presStyleCnt="0"/>
      <dgm:spPr/>
    </dgm:pt>
    <dgm:pt modelId="{153D5324-8979-46E3-9F91-22160A2A15A5}" type="pres">
      <dgm:prSet presAssocID="{D78F46AC-66EE-4FD7-AED6-A0D9DC8E911D}" presName="parentText" presStyleLbl="node1" presStyleIdx="0" presStyleCnt="2" custScaleX="57725" custScaleY="48573" custLinFactNeighborY="960">
        <dgm:presLayoutVars>
          <dgm:chMax val="1"/>
          <dgm:bulletEnabled val="1"/>
        </dgm:presLayoutVars>
      </dgm:prSet>
      <dgm:spPr/>
    </dgm:pt>
    <dgm:pt modelId="{D7932B79-76CB-4EF9-8F4C-E2E63643A20F}" type="pres">
      <dgm:prSet presAssocID="{D78F46AC-66EE-4FD7-AED6-A0D9DC8E911D}" presName="descendantText" presStyleLbl="alignAccFollowNode1" presStyleIdx="0" presStyleCnt="2" custScaleX="116373" custScaleY="43843">
        <dgm:presLayoutVars>
          <dgm:bulletEnabled val="1"/>
        </dgm:presLayoutVars>
      </dgm:prSet>
      <dgm:spPr/>
    </dgm:pt>
    <dgm:pt modelId="{E6B40CA1-AC8E-4D62-B4F3-31E9021D3A64}" type="pres">
      <dgm:prSet presAssocID="{C4CF469B-E93F-4999-9F46-52B5DD564A10}" presName="sp" presStyleCnt="0"/>
      <dgm:spPr/>
    </dgm:pt>
    <dgm:pt modelId="{3BC946E4-6216-4259-AD2C-464619D55403}" type="pres">
      <dgm:prSet presAssocID="{B7FC9E0B-5645-4883-B4F9-6DE51E92B9F3}" presName="linNode" presStyleCnt="0"/>
      <dgm:spPr/>
    </dgm:pt>
    <dgm:pt modelId="{0D75CCA8-F608-4284-9A4F-1432FC2A8805}" type="pres">
      <dgm:prSet presAssocID="{B7FC9E0B-5645-4883-B4F9-6DE51E92B9F3}" presName="parentText" presStyleLbl="node1" presStyleIdx="1" presStyleCnt="2" custScaleX="57725" custScaleY="63594" custLinFactNeighborY="960">
        <dgm:presLayoutVars>
          <dgm:chMax val="1"/>
          <dgm:bulletEnabled val="1"/>
        </dgm:presLayoutVars>
      </dgm:prSet>
      <dgm:spPr>
        <a:xfrm>
          <a:off x="270223" y="2349582"/>
          <a:ext cx="2369276" cy="2782343"/>
        </a:xfrm>
        <a:prstGeom prst="roundRect">
          <a:avLst/>
        </a:prstGeom>
      </dgm:spPr>
    </dgm:pt>
    <dgm:pt modelId="{03719E1A-AB58-4E44-9168-A96CF0343EF6}" type="pres">
      <dgm:prSet presAssocID="{B7FC9E0B-5645-4883-B4F9-6DE51E92B9F3}" presName="descendantText" presStyleLbl="alignAccFollowNode1" presStyleIdx="1" presStyleCnt="2" custScaleX="116373" custScaleY="64042">
        <dgm:presLayoutVars>
          <dgm:bulletEnabled val="1"/>
        </dgm:presLayoutVars>
      </dgm:prSet>
      <dgm:spPr/>
    </dgm:pt>
  </dgm:ptLst>
  <dgm:cxnLst>
    <dgm:cxn modelId="{D90B8E1D-A1D2-4E23-9552-9CD71260CCDD}" srcId="{804673BF-02CB-4AA8-8D71-405799D70B07}" destId="{D78F46AC-66EE-4FD7-AED6-A0D9DC8E911D}" srcOrd="0" destOrd="0" parTransId="{E994A647-A7D2-4F09-A6F5-FA00FDDBAD8C}" sibTransId="{C4CF469B-E93F-4999-9F46-52B5DD564A10}"/>
    <dgm:cxn modelId="{0DCDF72A-B238-4ED9-92F2-F92FCC896C91}" type="presOf" srcId="{BD06251E-0533-4EFC-B883-673AC7359605}" destId="{03719E1A-AB58-4E44-9168-A96CF0343EF6}" srcOrd="0" destOrd="0" presId="urn:microsoft.com/office/officeart/2005/8/layout/vList5"/>
    <dgm:cxn modelId="{A0818E2E-648C-4BA8-A389-FCA4EB68C355}" srcId="{804673BF-02CB-4AA8-8D71-405799D70B07}" destId="{B7FC9E0B-5645-4883-B4F9-6DE51E92B9F3}" srcOrd="1" destOrd="0" parTransId="{B9119C4E-4E45-4481-A571-CAE470B7C02E}" sibTransId="{49CFBCF7-9B85-4F44-B778-A792DB61CB15}"/>
    <dgm:cxn modelId="{199D4F3E-E289-4AC3-8136-B20ABB3D29D4}" type="presOf" srcId="{431225B0-8523-4B50-BA17-64E9FDB925AE}" destId="{03719E1A-AB58-4E44-9168-A96CF0343EF6}" srcOrd="0" destOrd="4" presId="urn:microsoft.com/office/officeart/2005/8/layout/vList5"/>
    <dgm:cxn modelId="{3F2D2162-F4EF-4366-8ACD-22922B07AE1D}" type="presOf" srcId="{B7FC9E0B-5645-4883-B4F9-6DE51E92B9F3}" destId="{0D75CCA8-F608-4284-9A4F-1432FC2A8805}" srcOrd="0" destOrd="0" presId="urn:microsoft.com/office/officeart/2005/8/layout/vList5"/>
    <dgm:cxn modelId="{A1AF8944-CCB2-4439-BCA3-93DE62BE285D}" srcId="{D78F46AC-66EE-4FD7-AED6-A0D9DC8E911D}" destId="{50C88DC7-A0A7-44E9-94C8-C06702E80091}" srcOrd="2" destOrd="0" parTransId="{C5E915A2-B9BF-41B5-8775-E70BEFAA6FD1}" sibTransId="{2F18C920-8AC4-4FFA-9D71-551A44AF6BBF}"/>
    <dgm:cxn modelId="{FC1EAE45-CBDC-42B2-BF14-4B07F58B6DC2}" type="presOf" srcId="{A7A1B69C-B3F3-4C82-ACD7-3F848F377BF6}" destId="{03719E1A-AB58-4E44-9168-A96CF0343EF6}" srcOrd="0" destOrd="3" presId="urn:microsoft.com/office/officeart/2005/8/layout/vList5"/>
    <dgm:cxn modelId="{0DB7064A-A6A4-4F07-AA15-5A5591A872D9}" type="presOf" srcId="{5EC77ECC-6604-4301-B96D-5142E0182F5D}" destId="{03719E1A-AB58-4E44-9168-A96CF0343EF6}" srcOrd="0" destOrd="2" presId="urn:microsoft.com/office/officeart/2005/8/layout/vList5"/>
    <dgm:cxn modelId="{EE37F46D-C73B-4286-BE4F-87D3014757AA}" srcId="{B7FC9E0B-5645-4883-B4F9-6DE51E92B9F3}" destId="{5EC77ECC-6604-4301-B96D-5142E0182F5D}" srcOrd="2" destOrd="0" parTransId="{D618E832-67D5-42A1-81D8-1014B055811D}" sibTransId="{A0322623-D7FB-4955-9BCB-C49096E50068}"/>
    <dgm:cxn modelId="{29857C50-7632-4666-845B-7216288E4112}" type="presOf" srcId="{B3AD99A4-883C-4AC8-83A3-ED4337360344}" destId="{03719E1A-AB58-4E44-9168-A96CF0343EF6}" srcOrd="0" destOrd="1" presId="urn:microsoft.com/office/officeart/2005/8/layout/vList5"/>
    <dgm:cxn modelId="{CBEC2376-5FCB-4D71-BBAD-98853C2C3BCD}" type="presOf" srcId="{D78F46AC-66EE-4FD7-AED6-A0D9DC8E911D}" destId="{153D5324-8979-46E3-9F91-22160A2A15A5}" srcOrd="0" destOrd="0" presId="urn:microsoft.com/office/officeart/2005/8/layout/vList5"/>
    <dgm:cxn modelId="{19587477-5322-4EE8-92B1-E3188C45798D}" srcId="{D78F46AC-66EE-4FD7-AED6-A0D9DC8E911D}" destId="{391919F2-E3EF-4432-A785-2D38393D84A9}" srcOrd="1" destOrd="0" parTransId="{E47C0FA9-7AAC-422A-9B26-4C209E0377E3}" sibTransId="{295A65FC-EA8F-4351-8EE6-12BB99AF6560}"/>
    <dgm:cxn modelId="{9D70B57C-A701-4D1E-B45D-432317902205}" srcId="{B7FC9E0B-5645-4883-B4F9-6DE51E92B9F3}" destId="{B3AD99A4-883C-4AC8-83A3-ED4337360344}" srcOrd="1" destOrd="0" parTransId="{57DADB36-9B82-4838-882A-9E4A769EB239}" sibTransId="{7AFE0BD3-6560-409D-8F66-B86C2615FF18}"/>
    <dgm:cxn modelId="{EAD26382-3823-4BE1-9B41-A87C34BA1746}" type="presOf" srcId="{F19EE299-CB5B-477A-8B53-09141A743677}" destId="{D7932B79-76CB-4EF9-8F4C-E2E63643A20F}" srcOrd="0" destOrd="0" presId="urn:microsoft.com/office/officeart/2005/8/layout/vList5"/>
    <dgm:cxn modelId="{6A05A6A2-9DEA-4217-BDA0-5973B299F086}" srcId="{D78F46AC-66EE-4FD7-AED6-A0D9DC8E911D}" destId="{F19EE299-CB5B-477A-8B53-09141A743677}" srcOrd="0" destOrd="0" parTransId="{338A0EDC-5B7E-468C-A16F-DC10A1C9DEE1}" sibTransId="{66A850DD-CF7C-4519-BECB-D2758BBD2295}"/>
    <dgm:cxn modelId="{42D6CEA2-77B7-466A-947E-E407832BE7C5}" srcId="{B7FC9E0B-5645-4883-B4F9-6DE51E92B9F3}" destId="{A7A1B69C-B3F3-4C82-ACD7-3F848F377BF6}" srcOrd="3" destOrd="0" parTransId="{B94D9465-E073-47DE-99F2-3AAB1896DFD5}" sibTransId="{D1E95ACE-BD5A-46E2-83AC-3C76979C6140}"/>
    <dgm:cxn modelId="{501D4FAC-0E60-4479-8E80-B5AA5F4A2F01}" srcId="{B7FC9E0B-5645-4883-B4F9-6DE51E92B9F3}" destId="{431225B0-8523-4B50-BA17-64E9FDB925AE}" srcOrd="4" destOrd="0" parTransId="{BA982F1E-8735-4C7D-8517-4EE1749E9102}" sibTransId="{8F27746C-51F8-4E11-BCB9-4E0A3B7F165E}"/>
    <dgm:cxn modelId="{172491D3-0BB1-47AF-8A3D-2307E470402E}" type="presOf" srcId="{804673BF-02CB-4AA8-8D71-405799D70B07}" destId="{E3EC540D-CCD9-4726-849B-CF28E2D096B7}" srcOrd="0" destOrd="0" presId="urn:microsoft.com/office/officeart/2005/8/layout/vList5"/>
    <dgm:cxn modelId="{A5DA52E9-0FE8-4686-9333-8AB39815ECEE}" type="presOf" srcId="{391919F2-E3EF-4432-A785-2D38393D84A9}" destId="{D7932B79-76CB-4EF9-8F4C-E2E63643A20F}" srcOrd="0" destOrd="1" presId="urn:microsoft.com/office/officeart/2005/8/layout/vList5"/>
    <dgm:cxn modelId="{0EE341EE-BA39-4A0D-8553-F4CB5A760351}" type="presOf" srcId="{50C88DC7-A0A7-44E9-94C8-C06702E80091}" destId="{D7932B79-76CB-4EF9-8F4C-E2E63643A20F}" srcOrd="0" destOrd="2" presId="urn:microsoft.com/office/officeart/2005/8/layout/vList5"/>
    <dgm:cxn modelId="{7525A8EE-D3B8-4940-9D9F-E77DED9CFE99}" srcId="{B7FC9E0B-5645-4883-B4F9-6DE51E92B9F3}" destId="{BD06251E-0533-4EFC-B883-673AC7359605}" srcOrd="0" destOrd="0" parTransId="{7847737A-F66A-4C42-B219-7916409BAB7F}" sibTransId="{32AE8CE7-49AA-4A80-8C05-789EB4C9E9C5}"/>
    <dgm:cxn modelId="{E740154A-76C8-4FA3-A965-922999ED3018}" type="presParOf" srcId="{E3EC540D-CCD9-4726-849B-CF28E2D096B7}" destId="{B5D47474-7A78-4820-9BFD-AE368DFE0D74}" srcOrd="0" destOrd="0" presId="urn:microsoft.com/office/officeart/2005/8/layout/vList5"/>
    <dgm:cxn modelId="{4E409556-3FC4-4210-A50E-F77DF018A229}" type="presParOf" srcId="{B5D47474-7A78-4820-9BFD-AE368DFE0D74}" destId="{153D5324-8979-46E3-9F91-22160A2A15A5}" srcOrd="0" destOrd="0" presId="urn:microsoft.com/office/officeart/2005/8/layout/vList5"/>
    <dgm:cxn modelId="{6FC71F69-7F8F-4E04-A5A3-0084CD034388}" type="presParOf" srcId="{B5D47474-7A78-4820-9BFD-AE368DFE0D74}" destId="{D7932B79-76CB-4EF9-8F4C-E2E63643A20F}" srcOrd="1" destOrd="0" presId="urn:microsoft.com/office/officeart/2005/8/layout/vList5"/>
    <dgm:cxn modelId="{1E49DF8E-68E0-4047-8A87-E28367164BE1}" type="presParOf" srcId="{E3EC540D-CCD9-4726-849B-CF28E2D096B7}" destId="{E6B40CA1-AC8E-4D62-B4F3-31E9021D3A64}" srcOrd="1" destOrd="0" presId="urn:microsoft.com/office/officeart/2005/8/layout/vList5"/>
    <dgm:cxn modelId="{B203C0EB-ECFC-4545-8716-9F5780243D18}" type="presParOf" srcId="{E3EC540D-CCD9-4726-849B-CF28E2D096B7}" destId="{3BC946E4-6216-4259-AD2C-464619D55403}" srcOrd="2" destOrd="0" presId="urn:microsoft.com/office/officeart/2005/8/layout/vList5"/>
    <dgm:cxn modelId="{8C044458-4227-4671-B951-B6086C381F39}" type="presParOf" srcId="{3BC946E4-6216-4259-AD2C-464619D55403}" destId="{0D75CCA8-F608-4284-9A4F-1432FC2A8805}" srcOrd="0" destOrd="0" presId="urn:microsoft.com/office/officeart/2005/8/layout/vList5"/>
    <dgm:cxn modelId="{3D87D69C-0DA8-4918-8F2A-5DEB40BCC32D}" type="presParOf" srcId="{3BC946E4-6216-4259-AD2C-464619D55403}" destId="{03719E1A-AB58-4E44-9168-A96CF0343EF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932B79-76CB-4EF9-8F4C-E2E63643A20F}">
      <dsp:nvSpPr>
        <dsp:cNvPr id="0" name=""/>
        <dsp:cNvSpPr/>
      </dsp:nvSpPr>
      <dsp:spPr>
        <a:xfrm rot="5400000">
          <a:off x="6117940" y="-3180310"/>
          <a:ext cx="1534563" cy="849144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kern="1200" dirty="0">
              <a:solidFill>
                <a:schemeClr val="bg2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Studies/ </a:t>
          </a:r>
          <a:r>
            <a:rPr lang="en-US" sz="1900" kern="12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Molecules / </a:t>
          </a:r>
          <a:r>
            <a:rPr lang="en-US" sz="1900" b="1" kern="12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Compounds</a:t>
          </a:r>
          <a:endParaRPr lang="en-US" sz="1900" b="1" kern="1200" dirty="0">
            <a:solidFill>
              <a:schemeClr val="bg2"/>
            </a:solidFill>
          </a:endParaRP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Inputs / </a:t>
          </a:r>
          <a:r>
            <a:rPr lang="en-US" sz="1900" b="1" kern="12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Process Parameters / Factors </a:t>
          </a:r>
          <a:r>
            <a:rPr lang="en-US" sz="1900" kern="12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/ X variables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Outputs  /</a:t>
          </a:r>
          <a:r>
            <a:rPr lang="en-US" sz="1900" b="1" kern="12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 Attributes </a:t>
          </a:r>
          <a:r>
            <a:rPr lang="en-US" sz="1900" kern="12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/ Y variables</a:t>
          </a:r>
        </a:p>
      </dsp:txBody>
      <dsp:txXfrm rot="-5400000">
        <a:off x="2639501" y="373040"/>
        <a:ext cx="8416532" cy="1384741"/>
      </dsp:txXfrm>
    </dsp:sp>
    <dsp:sp modelId="{153D5324-8979-46E3-9F91-22160A2A15A5}">
      <dsp:nvSpPr>
        <dsp:cNvPr id="0" name=""/>
        <dsp:cNvSpPr/>
      </dsp:nvSpPr>
      <dsp:spPr>
        <a:xfrm>
          <a:off x="270223" y="44838"/>
          <a:ext cx="2369276" cy="2125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Dimensions</a:t>
          </a:r>
          <a:endParaRPr lang="en-US" sz="2700" kern="1200"/>
        </a:p>
      </dsp:txBody>
      <dsp:txXfrm>
        <a:off x="373964" y="148579"/>
        <a:ext cx="2161794" cy="1917668"/>
      </dsp:txXfrm>
    </dsp:sp>
    <dsp:sp modelId="{03719E1A-AB58-4E44-9168-A96CF0343EF6}">
      <dsp:nvSpPr>
        <dsp:cNvPr id="0" name=""/>
        <dsp:cNvSpPr/>
      </dsp:nvSpPr>
      <dsp:spPr>
        <a:xfrm rot="5400000">
          <a:off x="5764444" y="-507804"/>
          <a:ext cx="2241555" cy="849144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>
              <a:cs typeface="Arial"/>
            </a:rPr>
            <a:t>Not all compounds study the same attributes. 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>
              <a:cs typeface="Arial"/>
            </a:rPr>
            <a:t>Not all compounds study the same process parameters within the same ranges.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>
              <a:cs typeface="Arial"/>
            </a:rPr>
            <a:t>Each attribute variation could be different</a:t>
          </a:r>
          <a:endParaRPr lang="en-US" sz="1900" kern="120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Different design resolution 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>
              <a:cs typeface="Arial"/>
            </a:rPr>
            <a:t>Data formatting issues: names, units.</a:t>
          </a:r>
          <a:endParaRPr lang="en-US" sz="1900" kern="1200"/>
        </a:p>
      </dsp:txBody>
      <dsp:txXfrm rot="-5400000">
        <a:off x="2639500" y="2726564"/>
        <a:ext cx="8382019" cy="2022707"/>
      </dsp:txXfrm>
    </dsp:sp>
    <dsp:sp modelId="{0D75CCA8-F608-4284-9A4F-1432FC2A8805}">
      <dsp:nvSpPr>
        <dsp:cNvPr id="0" name=""/>
        <dsp:cNvSpPr/>
      </dsp:nvSpPr>
      <dsp:spPr>
        <a:xfrm>
          <a:off x="270223" y="2349582"/>
          <a:ext cx="2369276" cy="2782343"/>
        </a:xfrm>
        <a:prstGeom prst="roundRect">
          <a:avLst/>
        </a:prstGeom>
        <a:solidFill>
          <a:srgbClr val="0000C9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400" b="1" kern="1200" dirty="0">
              <a:solidFill>
                <a:srgbClr val="FFFFFF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Difficulties:</a:t>
          </a:r>
          <a:br>
            <a:rPr lang="en-US" sz="2400" b="1" kern="1200" dirty="0">
              <a:solidFill>
                <a:srgbClr val="FFFFFF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</a:br>
          <a:r>
            <a:rPr lang="en-US" sz="2400" b="1" kern="1200" dirty="0">
              <a:solidFill>
                <a:srgbClr val="FFFFFF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rPr>
            <a:t>Inconsistency cross studies</a:t>
          </a:r>
        </a:p>
      </dsp:txBody>
      <dsp:txXfrm>
        <a:off x="385882" y="2465241"/>
        <a:ext cx="2137958" cy="25510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66963" cy="356198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6166" y="0"/>
            <a:ext cx="4066963" cy="356198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r">
              <a:defRPr sz="1200"/>
            </a:lvl1pPr>
          </a:lstStyle>
          <a:p>
            <a:fld id="{27F0FBF8-5347-42BE-B1EA-5A35C02E7A25}" type="datetimeFigureOut">
              <a:rPr lang="en-US" smtClean="0"/>
              <a:t>6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63813" y="887413"/>
            <a:ext cx="4257675" cy="23955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92" tIns="47096" rIns="94192" bIns="4709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530" y="3416539"/>
            <a:ext cx="7508240" cy="2795349"/>
          </a:xfrm>
          <a:prstGeom prst="rect">
            <a:avLst/>
          </a:prstGeom>
        </p:spPr>
        <p:txBody>
          <a:bodyPr vert="horz" lIns="94192" tIns="47096" rIns="94192" bIns="4709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743104"/>
            <a:ext cx="4066963" cy="356197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6166" y="6743104"/>
            <a:ext cx="4066963" cy="356197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r">
              <a:defRPr sz="1200"/>
            </a:lvl1pPr>
          </a:lstStyle>
          <a:p>
            <a:fld id="{62957C53-231E-4C20-BBF2-B295D82F59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710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5303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360CF-A28D-7308-5D66-2F766D1852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2A536E-F11B-6D2B-44E6-37538CCC00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C3AE33-824E-5006-EEA0-28DC30AE99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900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F8DB71-FBBC-B21A-B921-C414666034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87CE5C-EBCE-4EFA-8B44-0A07BFB0AE6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9386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03C87-E445-FB42-43FF-57EA7B7B3B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93682-59B8-4499-FB7A-7E13939286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0C7D84-F2E6-DF9B-7AC5-F60D1FB0A9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3F7990-B007-942F-6426-8161AD4628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0679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F057C1-FBAA-B770-6C00-DBB52DCFEC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638ABF-6ECD-1815-58DE-5B17EF554B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B5F6A6-EB17-D06C-03D6-CFD99696A3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724316-7F9A-5274-EF82-D89367A00D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1386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1923">
              <a:defRPr/>
            </a:pPr>
            <a:endParaRPr lang="en-US" dirty="0">
              <a:cs typeface="+mn-lt"/>
            </a:endParaRPr>
          </a:p>
          <a:p>
            <a:pPr defTabSz="941923">
              <a:defRPr/>
            </a:pPr>
            <a:endParaRPr lang="en-US" dirty="0"/>
          </a:p>
          <a:p>
            <a:pPr defTabSz="941923">
              <a:defRPr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05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22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353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8231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69ED54-5407-0C68-4F14-93527296B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BD5A4BB-FFC1-A9AA-4084-E686D58114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F5D84C-B8E9-4C69-8AA7-9AC662A66E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8C3EAE-B311-D7A4-0E63-06643E63AF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1145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1923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822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979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2740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2833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57C53-231E-4C20-BBF2-B295D82F598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920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85D401-62FA-65B6-88C6-AC3B2D6B80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564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85D401-62FA-65B6-88C6-AC3B2D6B8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close up of a blue circle&#10;&#10;Description automatically generated">
            <a:extLst>
              <a:ext uri="{FF2B5EF4-FFF2-40B4-BE49-F238E27FC236}">
                <a16:creationId xmlns:a16="http://schemas.microsoft.com/office/drawing/2014/main" id="{55A2C74C-D3F4-0172-F676-DE4356D194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" y="428"/>
            <a:ext cx="12180952" cy="685714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5768AD9-5DBC-DE98-21F3-E6626FA1D9AE}"/>
              </a:ext>
            </a:extLst>
          </p:cNvPr>
          <p:cNvSpPr/>
          <p:nvPr/>
        </p:nvSpPr>
        <p:spPr>
          <a:xfrm>
            <a:off x="0" y="0"/>
            <a:ext cx="12186476" cy="6858000"/>
          </a:xfrm>
          <a:prstGeom prst="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1984C54-3B51-226F-A6C0-3B9B742580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8012" y="990600"/>
            <a:ext cx="11468688" cy="4179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061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31209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B73060D-99D5-4F03-BDC5-BEE5AAA22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3532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3060D-99D5-4F03-BDC5-BEE5AAA22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9DB69F-4EE2-426C-EDE3-62B87E9E4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0"/>
            <a:ext cx="5410200" cy="9906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33AEC7-AC30-2806-6363-79DB752E09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219200"/>
            <a:ext cx="5410200" cy="45432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B4F63ED1-B7FB-600D-9C40-91C23160A30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324600" y="990600"/>
            <a:ext cx="5372100" cy="4771846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07A3BCF8-F21A-BBF0-1838-7A7691E329F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5300" y="5874589"/>
            <a:ext cx="11201400" cy="297611"/>
          </a:xfrm>
        </p:spPr>
        <p:txBody>
          <a:bodyPr anchor="ctr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42402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B73060D-99D5-4F03-BDC5-BEE5AAA22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3532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3060D-99D5-4F03-BDC5-BEE5AAA22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9DB69F-4EE2-426C-EDE3-62B87E9E4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0"/>
            <a:ext cx="5410200" cy="9906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33AEC7-AC30-2806-6363-79DB752E09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219201"/>
            <a:ext cx="11201400" cy="106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B4F63ED1-B7FB-600D-9C40-91C23160A30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8100204" y="2471467"/>
            <a:ext cx="3596496" cy="324784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07A3BCF8-F21A-BBF0-1838-7A7691E329F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5300" y="5874589"/>
            <a:ext cx="11201400" cy="297611"/>
          </a:xfrm>
        </p:spPr>
        <p:txBody>
          <a:bodyPr anchor="ctr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hart Placeholder 6">
            <a:extLst>
              <a:ext uri="{FF2B5EF4-FFF2-40B4-BE49-F238E27FC236}">
                <a16:creationId xmlns:a16="http://schemas.microsoft.com/office/drawing/2014/main" id="{F581C04B-2964-534B-BFF2-533FB878DC30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297752" y="2471467"/>
            <a:ext cx="3596496" cy="324784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8CAD8904-032A-8D05-B28E-C65EC43995B9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95300" y="2471467"/>
            <a:ext cx="3596496" cy="324784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0495202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B73060D-99D5-4F03-BDC5-BEE5AAA22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093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3060D-99D5-4F03-BDC5-BEE5AAA22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9DB69F-4EE2-426C-EDE3-62B87E9E4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47648"/>
            <a:ext cx="4924425" cy="1676401"/>
          </a:xfrm>
        </p:spPr>
        <p:txBody>
          <a:bodyPr vert="horz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33AEC7-AC30-2806-6363-79DB752E09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2238375"/>
            <a:ext cx="4924425" cy="3532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1FD2C0-C7C8-71D3-44DC-344B2CC7AEE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2625" y="247649"/>
            <a:ext cx="2886075" cy="28860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DB2AA8A-D7EF-BADB-2A8B-40D95932D6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810625" y="247649"/>
            <a:ext cx="2886075" cy="28860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2DD1821F-4165-4D5B-EA13-E7CAF3948A8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62625" y="3290887"/>
            <a:ext cx="2886075" cy="28860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9C9391F6-7883-0BE8-4A1D-2F3AFADA986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10625" y="3290887"/>
            <a:ext cx="2886075" cy="28860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C7CB9E34-F6F2-7CB8-13D5-B8A57DAF4A5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5300" y="5874589"/>
            <a:ext cx="4924425" cy="297611"/>
          </a:xfrm>
        </p:spPr>
        <p:txBody>
          <a:bodyPr anchor="ctr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03204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B73060D-99D5-4F03-BDC5-BEE5AAA22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06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3060D-99D5-4F03-BDC5-BEE5AAA22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A77F541-87C8-C5BB-A856-3444511F7152}"/>
              </a:ext>
            </a:extLst>
          </p:cNvPr>
          <p:cNvSpPr/>
          <p:nvPr/>
        </p:nvSpPr>
        <p:spPr>
          <a:xfrm>
            <a:off x="5753100" y="0"/>
            <a:ext cx="6438900" cy="6172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9DB69F-4EE2-426C-EDE3-62B87E9E4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47648"/>
            <a:ext cx="4924425" cy="1676401"/>
          </a:xfrm>
        </p:spPr>
        <p:txBody>
          <a:bodyPr vert="horz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33AEC7-AC30-2806-6363-79DB752E09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2238376"/>
            <a:ext cx="4924425" cy="35154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7ACB531-624E-E5B8-F1AE-8ACC89EA52C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5300" y="5874589"/>
            <a:ext cx="4924425" cy="297611"/>
          </a:xfrm>
        </p:spPr>
        <p:txBody>
          <a:bodyPr anchor="ctr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194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B73060D-99D5-4F03-BDC5-BEE5AAA22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149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3060D-99D5-4F03-BDC5-BEE5AAA22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A77F541-87C8-C5BB-A856-3444511F7152}"/>
              </a:ext>
            </a:extLst>
          </p:cNvPr>
          <p:cNvSpPr/>
          <p:nvPr/>
        </p:nvSpPr>
        <p:spPr>
          <a:xfrm>
            <a:off x="6096000" y="0"/>
            <a:ext cx="6096000" cy="6172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9DB69F-4EE2-426C-EDE3-62B87E9E4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47649"/>
            <a:ext cx="4924425" cy="971552"/>
          </a:xfrm>
        </p:spPr>
        <p:txBody>
          <a:bodyPr vert="horz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638DDC4-7472-836F-35A2-C3C27EA9A5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22377" y="685800"/>
            <a:ext cx="4895850" cy="4895850"/>
          </a:xfrm>
          <a:prstGeom prst="roundRect">
            <a:avLst>
              <a:gd name="adj" fmla="val 7523"/>
            </a:avLst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AB9B1092-946D-EF79-9188-7CB20F20D7B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5300" y="5874589"/>
            <a:ext cx="5198134" cy="297611"/>
          </a:xfrm>
        </p:spPr>
        <p:txBody>
          <a:bodyPr anchor="ctr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37957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FED52-5FD5-247C-7601-3FF00C289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90E78731-3CBC-A06A-D9C0-350CBF7C2C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01539" y="2997106"/>
            <a:ext cx="1747195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3EFF668B-F4D4-F8A9-7470-B9CCFDCFE34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997223" y="1231807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25">
            <a:extLst>
              <a:ext uri="{FF2B5EF4-FFF2-40B4-BE49-F238E27FC236}">
                <a16:creationId xmlns:a16="http://schemas.microsoft.com/office/drawing/2014/main" id="{7CE50DF4-94DF-6F8A-B632-C78EDF6AC0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10815" y="2997106"/>
            <a:ext cx="1747195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656AEA9F-4640-3D73-1D7F-6C5A9107D6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606499" y="1224517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3">
            <a:extLst>
              <a:ext uri="{FF2B5EF4-FFF2-40B4-BE49-F238E27FC236}">
                <a16:creationId xmlns:a16="http://schemas.microsoft.com/office/drawing/2014/main" id="{AE82EC50-B8AF-6EE0-021C-28986C3968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244502" y="1225736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68F48F79-C780-A639-2F2E-C9078DD08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1350" y="2997106"/>
            <a:ext cx="1744663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  <p:sp>
        <p:nvSpPr>
          <p:cNvPr id="9" name="Picture Placeholder 23">
            <a:extLst>
              <a:ext uri="{FF2B5EF4-FFF2-40B4-BE49-F238E27FC236}">
                <a16:creationId xmlns:a16="http://schemas.microsoft.com/office/drawing/2014/main" id="{DF5E0CD4-B701-8312-4EA9-01A72D2F9B5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66917" y="1231807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0D8D1164-A32D-B8B4-DDF6-874DC04869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64383" y="2997106"/>
            <a:ext cx="1754045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  <p:sp>
        <p:nvSpPr>
          <p:cNvPr id="11" name="Picture Placeholder 23">
            <a:extLst>
              <a:ext uri="{FF2B5EF4-FFF2-40B4-BE49-F238E27FC236}">
                <a16:creationId xmlns:a16="http://schemas.microsoft.com/office/drawing/2014/main" id="{E0F1BD70-E831-2CD1-EEB4-700EF06209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5300" y="1219201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937B7EFC-42FC-69C1-B581-FAD3FC4920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386" y="2997106"/>
            <a:ext cx="1744425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AC13CA66-F82D-1033-A378-B94118F0EC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08625" y="5568668"/>
            <a:ext cx="1747195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7FFB4EA3-E58A-0771-4658-468F6C026B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0004309" y="3800288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AE983298-4952-47F2-6347-F858E3E116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17901" y="5561378"/>
            <a:ext cx="1747195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  <p:sp>
        <p:nvSpPr>
          <p:cNvPr id="16" name="Picture Placeholder 23">
            <a:extLst>
              <a:ext uri="{FF2B5EF4-FFF2-40B4-BE49-F238E27FC236}">
                <a16:creationId xmlns:a16="http://schemas.microsoft.com/office/drawing/2014/main" id="{3B39BFC1-F8C7-C311-3527-278B90030E3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13585" y="3792998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23">
            <a:extLst>
              <a:ext uri="{FF2B5EF4-FFF2-40B4-BE49-F238E27FC236}">
                <a16:creationId xmlns:a16="http://schemas.microsoft.com/office/drawing/2014/main" id="{E6E3E5D9-2352-7480-1989-105868DD57F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251588" y="3794217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8CF3D1BB-7BBD-99CA-02C8-AE37809ECB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58436" y="5562597"/>
            <a:ext cx="1744663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  <p:sp>
        <p:nvSpPr>
          <p:cNvPr id="19" name="Picture Placeholder 23">
            <a:extLst>
              <a:ext uri="{FF2B5EF4-FFF2-40B4-BE49-F238E27FC236}">
                <a16:creationId xmlns:a16="http://schemas.microsoft.com/office/drawing/2014/main" id="{D8AEE9F8-6952-A208-2380-536C6FE6B48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874003" y="3800288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C748DE27-91D8-F5B5-4985-0E96F91408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71469" y="5568668"/>
            <a:ext cx="1754045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  <p:sp>
        <p:nvSpPr>
          <p:cNvPr id="21" name="Picture Placeholder 23">
            <a:extLst>
              <a:ext uri="{FF2B5EF4-FFF2-40B4-BE49-F238E27FC236}">
                <a16:creationId xmlns:a16="http://schemas.microsoft.com/office/drawing/2014/main" id="{852B394B-7F15-E6EC-4060-9E0040A5189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02386" y="3787682"/>
            <a:ext cx="1744663" cy="1752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5">
            <a:extLst>
              <a:ext uri="{FF2B5EF4-FFF2-40B4-BE49-F238E27FC236}">
                <a16:creationId xmlns:a16="http://schemas.microsoft.com/office/drawing/2014/main" id="{96C13900-53E8-C589-551F-F1D26F9474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9472" y="5556062"/>
            <a:ext cx="1744425" cy="600075"/>
          </a:xfrm>
        </p:spPr>
        <p:txBody>
          <a:bodyPr anchor="ctr">
            <a:noAutofit/>
          </a:bodyPr>
          <a:lstStyle>
            <a:lvl1pPr marL="0" indent="0">
              <a:spcAft>
                <a:spcPts val="20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olleague Name</a:t>
            </a:r>
          </a:p>
          <a:p>
            <a:pPr lvl="1"/>
            <a:r>
              <a:rPr lang="en-US"/>
              <a:t>Business Title</a:t>
            </a:r>
          </a:p>
        </p:txBody>
      </p:sp>
    </p:spTree>
    <p:extLst>
      <p:ext uri="{BB962C8B-B14F-4D97-AF65-F5344CB8AC3E}">
        <p14:creationId xmlns:p14="http://schemas.microsoft.com/office/powerpoint/2010/main" val="16340620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69406B-ED58-9AAB-042D-C78FDB5880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F120DC-A56D-AC8F-BD10-D2A7ED702C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2AFB8A-E345-9067-486B-4BABC4893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DCED7-6D69-4C2A-A07E-91DBC60AE91E}" type="datetimeFigureOut">
              <a:rPr lang="en-US" smtClean="0"/>
              <a:t>6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EE2DF-6C90-0F6E-17BF-8E5DD6500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DBE85D-AFA5-6AB6-69E1-0E7D8022E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3C0375-F338-4A8C-9EF8-24435FAFFB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2574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54437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0904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85D401-62FA-65B6-88C6-AC3B2D6B80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42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85D401-62FA-65B6-88C6-AC3B2D6B8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close up of a blue circle&#10;&#10;Description automatically generated">
            <a:extLst>
              <a:ext uri="{FF2B5EF4-FFF2-40B4-BE49-F238E27FC236}">
                <a16:creationId xmlns:a16="http://schemas.microsoft.com/office/drawing/2014/main" id="{03739D0E-BDB8-26C4-9705-BE14EDF304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" y="428"/>
            <a:ext cx="12180952" cy="685714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814BDAC-735E-AE01-E63B-912712A12433}"/>
              </a:ext>
            </a:extLst>
          </p:cNvPr>
          <p:cNvSpPr/>
          <p:nvPr/>
        </p:nvSpPr>
        <p:spPr>
          <a:xfrm>
            <a:off x="0" y="0"/>
            <a:ext cx="12186476" cy="6858000"/>
          </a:xfrm>
          <a:prstGeom prst="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ED5489-7B89-F213-B768-F633EBE3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299" y="888767"/>
            <a:ext cx="10182225" cy="2387600"/>
          </a:xfrm>
        </p:spPr>
        <p:txBody>
          <a:bodyPr vert="horz" anchor="b">
            <a:normAutofit/>
          </a:bodyPr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B541C1-EE6E-9086-B2B0-6094ED901D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299" y="3368442"/>
            <a:ext cx="10182225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75F71B-E6BF-AA26-6264-38787B38CF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265" y="5434897"/>
            <a:ext cx="3677005" cy="133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3350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85D401-62FA-65B6-88C6-AC3B2D6B80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6784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85D401-62FA-65B6-88C6-AC3B2D6B8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32DB3D9-F967-4403-1408-D739F592B900}"/>
              </a:ext>
            </a:extLst>
          </p:cNvPr>
          <p:cNvSpPr/>
          <p:nvPr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ED5489-7B89-F213-B768-F633EBE3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299" y="888767"/>
            <a:ext cx="10182225" cy="2387600"/>
          </a:xfrm>
        </p:spPr>
        <p:txBody>
          <a:bodyPr vert="horz" anchor="b">
            <a:normAutofit/>
          </a:bodyPr>
          <a:lstStyle>
            <a:lvl1pPr algn="l">
              <a:defRPr sz="8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B541C1-EE6E-9086-B2B0-6094ED901D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299" y="3368442"/>
            <a:ext cx="10182225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123D129-D23A-550D-4905-9A99FF8B0315}"/>
              </a:ext>
            </a:extLst>
          </p:cNvPr>
          <p:cNvSpPr txBox="1"/>
          <p:nvPr/>
        </p:nvSpPr>
        <p:spPr>
          <a:xfrm>
            <a:off x="9545149" y="6033700"/>
            <a:ext cx="21515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>
                <a:solidFill>
                  <a:schemeClr val="bg1"/>
                </a:solidFill>
              </a:rPr>
              <a:t>Classified – Confidential </a:t>
            </a:r>
          </a:p>
        </p:txBody>
      </p:sp>
      <p:pic>
        <p:nvPicPr>
          <p:cNvPr id="11" name="Picture 10" descr="A close up of a blue object&#10;&#10;Description automatically generated">
            <a:extLst>
              <a:ext uri="{FF2B5EF4-FFF2-40B4-BE49-F238E27FC236}">
                <a16:creationId xmlns:a16="http://schemas.microsoft.com/office/drawing/2014/main" id="{3F4B8254-6D54-FF40-0DFB-E27384D720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9143" y="3343714"/>
            <a:ext cx="7542857" cy="351428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EC597BD-C5FD-E763-7CD7-140A921BAB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263" y="5434897"/>
            <a:ext cx="3677009" cy="133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393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85D401-62FA-65B6-88C6-AC3B2D6B80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812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85D401-62FA-65B6-88C6-AC3B2D6B8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572D823-44B7-364A-074B-403F99B0FB2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100000">
                <a:schemeClr val="accent1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ED5489-7B89-F213-B768-F633EBE3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299" y="888767"/>
            <a:ext cx="10182225" cy="2387600"/>
          </a:xfrm>
        </p:spPr>
        <p:txBody>
          <a:bodyPr vert="horz" anchor="b">
            <a:normAutofit/>
          </a:bodyPr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E25B53-D074-9A96-FB10-4EA661CE46CC}"/>
              </a:ext>
            </a:extLst>
          </p:cNvPr>
          <p:cNvSpPr txBox="1"/>
          <p:nvPr/>
        </p:nvSpPr>
        <p:spPr>
          <a:xfrm>
            <a:off x="11162581" y="6192994"/>
            <a:ext cx="534119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6139BF6D-3D24-4A1B-B630-B6D782451A25}" type="slidenum">
              <a:rPr lang="en-US" sz="1000" b="1" smtClean="0">
                <a:solidFill>
                  <a:schemeClr val="bg1"/>
                </a:solidFill>
              </a:rPr>
              <a:pPr algn="r"/>
              <a:t>‹#›</a:t>
            </a:fld>
            <a:endParaRPr lang="en-US" sz="1000" b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BAFC9A-14D6-7DB5-F465-177ADEB716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265" y="5434897"/>
            <a:ext cx="3677005" cy="133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079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85D401-62FA-65B6-88C6-AC3B2D6B80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812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85D401-62FA-65B6-88C6-AC3B2D6B8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572D823-44B7-364A-074B-403F99B0FB2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4000">
                <a:srgbClr val="076BCB"/>
              </a:gs>
              <a:gs pos="80000">
                <a:srgbClr val="000944"/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ED5489-7B89-F213-B768-F633EBE3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299" y="888767"/>
            <a:ext cx="10182225" cy="2387600"/>
          </a:xfrm>
        </p:spPr>
        <p:txBody>
          <a:bodyPr vert="horz" anchor="b">
            <a:normAutofit/>
          </a:bodyPr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894FA5-A63C-C039-0343-0A4D0A46AA3E}"/>
              </a:ext>
            </a:extLst>
          </p:cNvPr>
          <p:cNvSpPr txBox="1"/>
          <p:nvPr/>
        </p:nvSpPr>
        <p:spPr>
          <a:xfrm>
            <a:off x="11110823" y="6192994"/>
            <a:ext cx="585877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6139BF6D-3D24-4A1B-B630-B6D782451A25}" type="slidenum">
              <a:rPr lang="en-US" sz="1000" b="1" smtClean="0">
                <a:solidFill>
                  <a:schemeClr val="bg1"/>
                </a:solidFill>
              </a:rPr>
              <a:pPr algn="r"/>
              <a:t>‹#›</a:t>
            </a:fld>
            <a:endParaRPr lang="en-US" sz="1000" b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53BB-CE7B-DC3C-E492-B60F87B887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265" y="5434897"/>
            <a:ext cx="3677005" cy="133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962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25305A-127F-0358-B451-BBA559548A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0786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25305A-127F-0358-B451-BBA559548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DAF8B-3A85-288A-587E-C627BD5FD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C69847-40DE-6593-AF4A-C71023B6A7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224650"/>
            <a:ext cx="11201400" cy="45032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E307C4E-78FD-4B55-95D1-516D5A32C0D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5300" y="5874589"/>
            <a:ext cx="11201400" cy="297611"/>
          </a:xfrm>
        </p:spPr>
        <p:txBody>
          <a:bodyPr anchor="ctr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1414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B73060D-99D5-4F03-BDC5-BEE5AAA22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66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3060D-99D5-4F03-BDC5-BEE5AAA22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9DB69F-4EE2-426C-EDE3-62B87E9E4D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33AEC7-AC30-2806-6363-79DB752E09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219199"/>
            <a:ext cx="5410200" cy="45432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7ACED1-98A1-76AF-F146-4295CF916A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6500" y="1219199"/>
            <a:ext cx="5410200" cy="45432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1703A3A-1DFE-C188-1771-B3311E34164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5300" y="5874589"/>
            <a:ext cx="11201400" cy="297611"/>
          </a:xfrm>
        </p:spPr>
        <p:txBody>
          <a:bodyPr anchor="ctr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7653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28AEB8-51FE-C1E7-EEB2-CE698DF255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759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28AEB8-51FE-C1E7-EEB2-CE698DF25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CE54F9-D636-861B-6A4E-69AFAC53E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7579FBF5-27EF-DD72-B1F3-4C5611A9F13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5300" y="5874589"/>
            <a:ext cx="11201400" cy="297611"/>
          </a:xfrm>
        </p:spPr>
        <p:txBody>
          <a:bodyPr anchor="ctr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8342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28AEB8-51FE-C1E7-EEB2-CE698DF255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716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28AEB8-51FE-C1E7-EEB2-CE698DF25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FAC0E20-C9BE-7BDA-FB1B-9D913A87A761}"/>
              </a:ext>
            </a:extLst>
          </p:cNvPr>
          <p:cNvSpPr/>
          <p:nvPr/>
        </p:nvSpPr>
        <p:spPr>
          <a:xfrm>
            <a:off x="0" y="0"/>
            <a:ext cx="12192000" cy="61722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100000">
                <a:schemeClr val="accent1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CE54F9-D636-861B-6A4E-69AFAC53E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A24C3D6B-8DB6-532F-1273-753CB5888EE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5300" y="5874589"/>
            <a:ext cx="11201400" cy="297611"/>
          </a:xfrm>
        </p:spPr>
        <p:txBody>
          <a:bodyPr anchor="ctr"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4495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7317A7-1A5A-99E4-E8FF-BC6B01430BD9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6180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47" imgH="348" progId="TCLayout.ActiveDocument.1">
                  <p:embed/>
                </p:oleObj>
              </mc:Choice>
              <mc:Fallback>
                <p:oleObj name="think-cell Slide" r:id="rId22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7317A7-1A5A-99E4-E8FF-BC6B01430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F37D9A-5C16-46D1-8138-502ABA85C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0"/>
            <a:ext cx="11201400" cy="990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804FAF-5963-8BA1-99D1-3BBC925ED1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224650"/>
            <a:ext cx="11201400" cy="49475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AD5861-2267-C52B-C2E5-AC94EED5FA4E}"/>
              </a:ext>
            </a:extLst>
          </p:cNvPr>
          <p:cNvSpPr txBox="1"/>
          <p:nvPr/>
        </p:nvSpPr>
        <p:spPr>
          <a:xfrm>
            <a:off x="11194246" y="6452303"/>
            <a:ext cx="502454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6139BF6D-3D24-4A1B-B630-B6D782451A25}" type="slidenum">
              <a:rPr lang="en-US" sz="1000" b="1" smtClean="0">
                <a:solidFill>
                  <a:schemeClr val="accent1"/>
                </a:solidFill>
              </a:rPr>
              <a:pPr algn="r"/>
              <a:t>‹#›</a:t>
            </a:fld>
            <a:endParaRPr lang="en-US" sz="1000" b="1">
              <a:solidFill>
                <a:schemeClr val="accent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2AEC58-3648-9915-97DC-BDBE1059DA9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5301" y="6172200"/>
            <a:ext cx="1881984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229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2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Pfizer Diatype Office" panose="020B0504040202060203" pitchFamily="34" charset="0"/>
        <a:buChar char="–"/>
        <a:defRPr sz="20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Pfizer Diatype Office" panose="020B0504040202060203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4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768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conferences.enbis.org/event/32/contributions/602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community.jmp.com/t5/Abstracts/OMARS-Designs-Add-in-A-Gateway-to-a-New-Family-of-Orthogonal/ev-p/755517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6.png"/><Relationship Id="rId7" Type="http://schemas.microsoft.com/office/2007/relationships/hdphoto" Target="../media/hdphoto2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D66450-DD2D-6FC6-D45B-8D10B05FD9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4800"/>
              <a:t>Leveraging an Experimental Database to Inform an OMARS Designed Experi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796B25-30E6-B34F-5D85-18062BF187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299" y="3368442"/>
            <a:ext cx="10182225" cy="1990958"/>
          </a:xfrm>
        </p:spPr>
        <p:txBody>
          <a:bodyPr>
            <a:normAutofit fontScale="85000" lnSpcReduction="20000"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Presented by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Peili Wang, Associate Director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Portfolio </a:t>
            </a:r>
            <a:r>
              <a:rPr lang="en-US" dirty="0"/>
              <a:t>S</a:t>
            </a:r>
            <a:r>
              <a:rPr lang="en-US" dirty="0">
                <a:solidFill>
                  <a:schemeClr val="bg1"/>
                </a:solidFill>
              </a:rPr>
              <a:t>tatistics, Pfizer</a:t>
            </a:r>
          </a:p>
          <a:p>
            <a:pPr algn="ctr"/>
            <a:r>
              <a:rPr lang="en-US" dirty="0"/>
              <a:t>NCB 2025 </a:t>
            </a:r>
            <a:endParaRPr lang="en-US" dirty="0">
              <a:solidFill>
                <a:schemeClr val="bg1"/>
              </a:solidFill>
            </a:endParaRP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1083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99058A-F2FD-5D44-1C86-BCF3F49033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F230B-39CA-FE9F-02CC-49A77117EB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Using the Database to Inform OMARS Desig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C66691-2214-9D76-6142-F6310A477DD5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0" y="3368675"/>
            <a:ext cx="10182225" cy="1655763"/>
          </a:xfrm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en-US">
                <a:solidFill>
                  <a:schemeClr val="bg1"/>
                </a:solidFill>
              </a:rPr>
              <a:t>DoE Request</a:t>
            </a:r>
          </a:p>
          <a:p>
            <a:pPr marL="914400" lvl="1" indent="-457200">
              <a:buFont typeface="Pfizer Tomorrow"/>
              <a:buAutoNum type="arabicPeriod"/>
            </a:pPr>
            <a:r>
              <a:rPr lang="en-US">
                <a:solidFill>
                  <a:schemeClr val="bg1"/>
                </a:solidFill>
              </a:rPr>
              <a:t>Leverage database to inform design choices</a:t>
            </a:r>
          </a:p>
        </p:txBody>
      </p:sp>
    </p:spTree>
    <p:extLst>
      <p:ext uri="{BB962C8B-B14F-4D97-AF65-F5344CB8AC3E}">
        <p14:creationId xmlns:p14="http://schemas.microsoft.com/office/powerpoint/2010/main" val="37175981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7A374-B047-BF52-DFEE-77024CF04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quest 24-run study with 6 fac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D01B92-9C8F-C085-EEB2-BA204B45D3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219199"/>
            <a:ext cx="11201400" cy="454324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dirty="0"/>
              <a:t>Objective: Process characterization study</a:t>
            </a:r>
          </a:p>
          <a:p>
            <a:pPr marL="0" indent="0">
              <a:buNone/>
            </a:pPr>
            <a:r>
              <a:rPr lang="en-US" dirty="0"/>
              <a:t>Restriction: 24-run design for six factors (27 effects) to ensure a single “block”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esign Options</a:t>
            </a:r>
          </a:p>
          <a:p>
            <a:r>
              <a:rPr lang="en-US" dirty="0"/>
              <a:t>Central Composite Design (CCD) </a:t>
            </a:r>
          </a:p>
          <a:p>
            <a:r>
              <a:rPr lang="en-US" dirty="0"/>
              <a:t>Box-Behnken Design (BBD)</a:t>
            </a:r>
          </a:p>
          <a:p>
            <a:r>
              <a:rPr lang="en-US" dirty="0"/>
              <a:t>OMARS family: bridges the gap between Definitive Screening Design (DSD) and CCD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783693-04B6-ECD7-5125-0E4F60102AD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3290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6E01B1-7A5F-61CD-BB38-6C764460D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F03BD8-C627-5076-8B39-F8A764A2AF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00BA6B-0FEA-DCDE-7B01-16275ABA79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172" y="1307593"/>
            <a:ext cx="11295782" cy="396947"/>
          </a:xfrm>
        </p:spPr>
        <p:txBody>
          <a:bodyPr/>
          <a:lstStyle/>
          <a:p>
            <a:r>
              <a:rPr lang="en-US" sz="1600"/>
              <a:t>Núñez Ares, Goos 2020 &amp; Núñez Ares, Schoen, Goos 2023</a:t>
            </a:r>
          </a:p>
          <a:p>
            <a:endParaRPr lang="en-US" sz="160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B07FB5-2A7B-A251-6951-025757E3C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0"/>
            <a:ext cx="11201400" cy="990600"/>
          </a:xfrm>
        </p:spPr>
        <p:txBody>
          <a:bodyPr/>
          <a:lstStyle/>
          <a:p>
            <a:r>
              <a:rPr lang="en-US"/>
              <a:t>OMARS desig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E565106-A196-2858-BC92-4AFF917E10D2}"/>
              </a:ext>
            </a:extLst>
          </p:cNvPr>
          <p:cNvSpPr txBox="1"/>
          <p:nvPr/>
        </p:nvSpPr>
        <p:spPr bwMode="gray">
          <a:xfrm>
            <a:off x="520527" y="1844756"/>
            <a:ext cx="2223247" cy="2431615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sz="2200" b="1">
                <a:solidFill>
                  <a:srgbClr val="C00000"/>
                </a:solidFill>
              </a:rPr>
              <a:t>O</a:t>
            </a:r>
            <a:r>
              <a:rPr lang="en-US" sz="2200"/>
              <a:t>rthogonal</a:t>
            </a:r>
          </a:p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sz="2200" b="1">
                <a:solidFill>
                  <a:srgbClr val="C00000"/>
                </a:solidFill>
              </a:rPr>
              <a:t>M</a:t>
            </a:r>
            <a:r>
              <a:rPr lang="en-US" sz="2200"/>
              <a:t>inimally</a:t>
            </a:r>
          </a:p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sz="2200" b="1">
                <a:solidFill>
                  <a:srgbClr val="C00000"/>
                </a:solidFill>
              </a:rPr>
              <a:t>A</a:t>
            </a:r>
            <a:r>
              <a:rPr lang="en-US" sz="2200"/>
              <a:t>liased</a:t>
            </a:r>
          </a:p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sz="2200" b="1">
                <a:solidFill>
                  <a:srgbClr val="C00000"/>
                </a:solidFill>
              </a:rPr>
              <a:t>R</a:t>
            </a:r>
            <a:r>
              <a:rPr lang="en-US" sz="2200"/>
              <a:t>esponse</a:t>
            </a:r>
          </a:p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sz="2200" b="1">
                <a:solidFill>
                  <a:srgbClr val="C00000"/>
                </a:solidFill>
              </a:rPr>
              <a:t>S</a:t>
            </a:r>
            <a:r>
              <a:rPr lang="en-US" sz="2200"/>
              <a:t>urface</a:t>
            </a:r>
          </a:p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sz="2200"/>
              <a:t>desig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4171BA-1DFC-DB7E-4006-F7FDF08F9C43}"/>
              </a:ext>
            </a:extLst>
          </p:cNvPr>
          <p:cNvSpPr txBox="1"/>
          <p:nvPr/>
        </p:nvSpPr>
        <p:spPr bwMode="gray">
          <a:xfrm>
            <a:off x="8660448" y="5933762"/>
            <a:ext cx="3487270" cy="259977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en-US" sz="1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B69C2D-DE4C-BDA3-DA5F-DD362C73C463}"/>
              </a:ext>
            </a:extLst>
          </p:cNvPr>
          <p:cNvSpPr txBox="1"/>
          <p:nvPr/>
        </p:nvSpPr>
        <p:spPr bwMode="gray">
          <a:xfrm>
            <a:off x="1124606" y="5183471"/>
            <a:ext cx="3331779" cy="1057616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en-US" sz="16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AF5C1C8-3059-BD9D-78CE-DCFF17DB029B}"/>
              </a:ext>
            </a:extLst>
          </p:cNvPr>
          <p:cNvGrpSpPr/>
          <p:nvPr/>
        </p:nvGrpSpPr>
        <p:grpSpPr>
          <a:xfrm>
            <a:off x="2199409" y="1805129"/>
            <a:ext cx="3331779" cy="2930882"/>
            <a:chOff x="4302449" y="3820564"/>
            <a:chExt cx="3331779" cy="29308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3125815-8CD4-FF00-8966-2CE9D0468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02449" y="3820564"/>
              <a:ext cx="3331779" cy="2930882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2F0F2B5-B71E-B78C-52F7-9138DC8DED5E}"/>
                </a:ext>
              </a:extLst>
            </p:cNvPr>
            <p:cNvSpPr/>
            <p:nvPr/>
          </p:nvSpPr>
          <p:spPr bwMode="gray">
            <a:xfrm>
              <a:off x="4652683" y="3889468"/>
              <a:ext cx="2442487" cy="731443"/>
            </a:xfrm>
            <a:prstGeom prst="rect">
              <a:avLst/>
            </a:prstGeom>
            <a:noFill/>
            <a:ln w="57150" cap="flat" cmpd="sng" algn="ctr">
              <a:solidFill>
                <a:schemeClr val="accent4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en-US" b="1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7F0FB5A-94CE-80B5-D914-823579A74A9A}"/>
                </a:ext>
              </a:extLst>
            </p:cNvPr>
            <p:cNvSpPr/>
            <p:nvPr/>
          </p:nvSpPr>
          <p:spPr bwMode="gray">
            <a:xfrm>
              <a:off x="4652683" y="3900058"/>
              <a:ext cx="699246" cy="2473310"/>
            </a:xfrm>
            <a:prstGeom prst="rect">
              <a:avLst/>
            </a:prstGeom>
            <a:noFill/>
            <a:ln w="57150" cap="flat" cmpd="sng" algn="ctr">
              <a:solidFill>
                <a:schemeClr val="accent4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en-US" b="1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8364A93-4A01-2927-E9E8-E3CBF815F69F}"/>
              </a:ext>
            </a:extLst>
          </p:cNvPr>
          <p:cNvSpPr/>
          <p:nvPr/>
        </p:nvSpPr>
        <p:spPr>
          <a:xfrm>
            <a:off x="2410424" y="4769040"/>
            <a:ext cx="2917377" cy="1030802"/>
          </a:xfrm>
          <a:prstGeom prst="roundRect">
            <a:avLst/>
          </a:prstGeom>
          <a:ln/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orrelation Matrix for an OMARS Design with Four Fact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5ACA124-1645-86D9-9322-3BC88BE9424D}"/>
              </a:ext>
            </a:extLst>
          </p:cNvPr>
          <p:cNvSpPr txBox="1"/>
          <p:nvPr/>
        </p:nvSpPr>
        <p:spPr>
          <a:xfrm>
            <a:off x="6003393" y="1844756"/>
            <a:ext cx="5740561" cy="221599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eatures of OMARS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hree levels for each factor (-1, 0, 1)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ach main effect is not correlated with any other effects.</a:t>
            </a: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Allow the estimation of partial or complete second-order effects models.</a:t>
            </a:r>
          </a:p>
        </p:txBody>
      </p:sp>
    </p:spTree>
    <p:extLst>
      <p:ext uri="{BB962C8B-B14F-4D97-AF65-F5344CB8AC3E}">
        <p14:creationId xmlns:p14="http://schemas.microsoft.com/office/powerpoint/2010/main" val="39579383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73DF1B-D753-67AB-4228-F9B523C68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2F444F3-5C0B-21AD-CA0A-36117E4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47648"/>
            <a:ext cx="5226231" cy="1676401"/>
          </a:xfrm>
        </p:spPr>
        <p:txBody>
          <a:bodyPr/>
          <a:lstStyle/>
          <a:p>
            <a:r>
              <a:rPr lang="en-US" dirty="0"/>
              <a:t>Using the database to inform design choice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154C430-CE23-5D59-3FC8-5F1A34A355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305" y="2384868"/>
            <a:ext cx="3661326" cy="313650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EBCFD66-62EE-9A2B-2E7B-CC656F4C6A8E}"/>
              </a:ext>
            </a:extLst>
          </p:cNvPr>
          <p:cNvSpPr txBox="1"/>
          <p:nvPr/>
        </p:nvSpPr>
        <p:spPr>
          <a:xfrm>
            <a:off x="847226" y="2097834"/>
            <a:ext cx="4127897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/>
            <a:r>
              <a:rPr lang="en-US" sz="1800" dirty="0">
                <a:effectLst/>
                <a:latin typeface="Aptos"/>
                <a:ea typeface="Aptos" panose="020B0004020202020204" pitchFamily="34" charset="0"/>
                <a:cs typeface="Aptos" panose="020B0004020202020204" pitchFamily="34" charset="0"/>
              </a:rPr>
              <a:t>Not “equal information” for each factor.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122A8D68-2CBD-5305-2FFC-243C8B1DA557}"/>
              </a:ext>
            </a:extLst>
          </p:cNvPr>
          <p:cNvSpPr/>
          <p:nvPr/>
        </p:nvSpPr>
        <p:spPr>
          <a:xfrm>
            <a:off x="847226" y="5829757"/>
            <a:ext cx="3816405" cy="4877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From Desig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182E5D3-93CA-053D-A1A2-AF6B0BFC7871}"/>
              </a:ext>
            </a:extLst>
          </p:cNvPr>
          <p:cNvSpPr/>
          <p:nvPr/>
        </p:nvSpPr>
        <p:spPr>
          <a:xfrm>
            <a:off x="3571301" y="4527914"/>
            <a:ext cx="718457" cy="889362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276EE7-6BD0-FC10-5DC3-0452CEAA99A9}"/>
              </a:ext>
            </a:extLst>
          </p:cNvPr>
          <p:cNvSpPr txBox="1"/>
          <p:nvPr/>
        </p:nvSpPr>
        <p:spPr>
          <a:xfrm>
            <a:off x="1315948" y="5467184"/>
            <a:ext cx="373966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atin typeface="Aptos"/>
              </a:rPr>
              <a:t>Design Correlation matrix</a:t>
            </a:r>
            <a:endParaRPr lang="en-US" b="1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F454808-EDCB-46FF-4544-2C7EC31FFD07}"/>
              </a:ext>
            </a:extLst>
          </p:cNvPr>
          <p:cNvGrpSpPr/>
          <p:nvPr/>
        </p:nvGrpSpPr>
        <p:grpSpPr>
          <a:xfrm>
            <a:off x="6096000" y="2434624"/>
            <a:ext cx="5749123" cy="3914966"/>
            <a:chOff x="6096000" y="2434624"/>
            <a:chExt cx="5749123" cy="391496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60E3291-8A36-D084-8C7F-465EC1096087}"/>
                </a:ext>
              </a:extLst>
            </p:cNvPr>
            <p:cNvGrpSpPr/>
            <p:nvPr/>
          </p:nvGrpSpPr>
          <p:grpSpPr>
            <a:xfrm>
              <a:off x="6096000" y="2434624"/>
              <a:ext cx="5749123" cy="2386046"/>
              <a:chOff x="6075198" y="2865048"/>
              <a:chExt cx="5895428" cy="2228098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F2D45FAE-34F1-6CF8-64DD-5F1AA06AAD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t="4726" b="2"/>
              <a:stretch/>
            </p:blipFill>
            <p:spPr>
              <a:xfrm>
                <a:off x="6075198" y="2865048"/>
                <a:ext cx="5895428" cy="2228098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noFill/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68B74010-7A9E-CB4D-CED8-6D671469E728}"/>
                  </a:ext>
                </a:extLst>
              </p:cNvPr>
              <p:cNvSpPr/>
              <p:nvPr/>
            </p:nvSpPr>
            <p:spPr>
              <a:xfrm>
                <a:off x="6093153" y="4226153"/>
                <a:ext cx="5396333" cy="247056"/>
              </a:xfrm>
              <a:prstGeom prst="rect">
                <a:avLst/>
              </a:prstGeom>
              <a:noFill/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3B879D03-9518-59A8-7FFB-B63CE78C9BE9}"/>
                </a:ext>
              </a:extLst>
            </p:cNvPr>
            <p:cNvSpPr/>
            <p:nvPr/>
          </p:nvSpPr>
          <p:spPr>
            <a:xfrm>
              <a:off x="7459331" y="5831970"/>
              <a:ext cx="3183874" cy="517620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/>
                <a:t>From Database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BBD1278-DC74-BD9B-74F5-6A91597815F5}"/>
                </a:ext>
              </a:extLst>
            </p:cNvPr>
            <p:cNvSpPr txBox="1"/>
            <p:nvPr/>
          </p:nvSpPr>
          <p:spPr>
            <a:xfrm>
              <a:off x="7324742" y="4993699"/>
              <a:ext cx="3453052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Frequency of quadratic effect</a:t>
              </a:r>
            </a:p>
          </p:txBody>
        </p:sp>
        <p:sp>
          <p:nvSpPr>
            <p:cNvPr id="7" name="Arrow: Down 6">
              <a:extLst>
                <a:ext uri="{FF2B5EF4-FFF2-40B4-BE49-F238E27FC236}">
                  <a16:creationId xmlns:a16="http://schemas.microsoft.com/office/drawing/2014/main" id="{C144EB2B-4117-B14A-80B1-6A5A0989C9D3}"/>
                </a:ext>
              </a:extLst>
            </p:cNvPr>
            <p:cNvSpPr/>
            <p:nvPr/>
          </p:nvSpPr>
          <p:spPr>
            <a:xfrm rot="5400000" flipH="1">
              <a:off x="11497761" y="3827813"/>
              <a:ext cx="225524" cy="393378"/>
            </a:xfrm>
            <a:prstGeom prst="down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02043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A18132-740E-0581-0A26-C340205C8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1DE9A39-862A-0F17-FB15-FC43CEBE9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47648"/>
            <a:ext cx="5226231" cy="1676401"/>
          </a:xfrm>
        </p:spPr>
        <p:txBody>
          <a:bodyPr/>
          <a:lstStyle/>
          <a:p>
            <a:r>
              <a:rPr lang="en-US" dirty="0"/>
              <a:t>Using the database to inform design choice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AD9C544-AD9C-6A14-226D-C25F77E87E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305" y="2384868"/>
            <a:ext cx="3661326" cy="313650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E2C004E-4127-1DE9-C8F5-E675D837BE9E}"/>
              </a:ext>
            </a:extLst>
          </p:cNvPr>
          <p:cNvSpPr txBox="1"/>
          <p:nvPr/>
        </p:nvSpPr>
        <p:spPr>
          <a:xfrm>
            <a:off x="847226" y="2097834"/>
            <a:ext cx="4127897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/>
            <a:r>
              <a:rPr lang="en-US" sz="1800" dirty="0">
                <a:effectLst/>
                <a:latin typeface="Aptos"/>
                <a:ea typeface="Aptos" panose="020B0004020202020204" pitchFamily="34" charset="0"/>
                <a:cs typeface="Aptos" panose="020B0004020202020204" pitchFamily="34" charset="0"/>
              </a:rPr>
              <a:t>Not “equal information” for each factor.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AFAC567-F0F0-8AA0-ACAE-4D8FC2117677}"/>
              </a:ext>
            </a:extLst>
          </p:cNvPr>
          <p:cNvSpPr/>
          <p:nvPr/>
        </p:nvSpPr>
        <p:spPr>
          <a:xfrm>
            <a:off x="847226" y="5829757"/>
            <a:ext cx="3816405" cy="4877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From Design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B2BEB7D-0A27-18DA-C4A5-1B71C17B76F8}"/>
              </a:ext>
            </a:extLst>
          </p:cNvPr>
          <p:cNvSpPr/>
          <p:nvPr/>
        </p:nvSpPr>
        <p:spPr>
          <a:xfrm>
            <a:off x="7459331" y="5831970"/>
            <a:ext cx="3183874" cy="51762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From Databas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E8D18C-C9B4-0F8F-0D43-D607B57ECD75}"/>
              </a:ext>
            </a:extLst>
          </p:cNvPr>
          <p:cNvSpPr txBox="1"/>
          <p:nvPr/>
        </p:nvSpPr>
        <p:spPr>
          <a:xfrm>
            <a:off x="1315948" y="5467184"/>
            <a:ext cx="373966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atin typeface="Aptos"/>
              </a:rPr>
              <a:t>Design Correlation matrix</a:t>
            </a:r>
            <a:endParaRPr lang="en-US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402536-2D81-656B-6BF2-D30AF342965F}"/>
              </a:ext>
            </a:extLst>
          </p:cNvPr>
          <p:cNvSpPr txBox="1"/>
          <p:nvPr/>
        </p:nvSpPr>
        <p:spPr>
          <a:xfrm>
            <a:off x="6042286" y="842281"/>
            <a:ext cx="6096000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800" b="0" i="0" u="none" strike="noStrike" dirty="0">
                <a:solidFill>
                  <a:schemeClr val="bg1"/>
                </a:solidFill>
                <a:effectLst/>
                <a:latin typeface="Arial"/>
                <a:cs typeface="Arial"/>
              </a:rPr>
              <a:t>Principle: When correlation between two effects are high in </a:t>
            </a:r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the OMARS design</a:t>
            </a:r>
            <a:r>
              <a:rPr lang="en-US" sz="1800" b="0" i="0" u="none" strike="noStrike" dirty="0">
                <a:solidFill>
                  <a:schemeClr val="bg1"/>
                </a:solidFill>
                <a:effectLst/>
                <a:latin typeface="Arial"/>
                <a:cs typeface="Arial"/>
              </a:rPr>
              <a:t>, </a:t>
            </a:r>
            <a:r>
              <a:rPr lang="en-US" sz="1800" b="0" i="0" dirty="0">
                <a:solidFill>
                  <a:schemeClr val="bg1"/>
                </a:solidFill>
                <a:effectLst/>
                <a:latin typeface="Arial"/>
                <a:cs typeface="Arial"/>
              </a:rPr>
              <a:t>​</a:t>
            </a:r>
            <a:r>
              <a:rPr lang="en-US" sz="1800" b="0" i="0" u="none" strike="noStrike" dirty="0">
                <a:solidFill>
                  <a:schemeClr val="bg1"/>
                </a:solidFill>
                <a:effectLst/>
                <a:latin typeface="Arial"/>
                <a:cs typeface="Arial"/>
              </a:rPr>
              <a:t>assign the factors so that the chance </a:t>
            </a:r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two correlated</a:t>
            </a:r>
            <a:r>
              <a:rPr lang="en-US" sz="1800" b="0" i="0" u="none" strike="noStrike" dirty="0">
                <a:solidFill>
                  <a:schemeClr val="bg1"/>
                </a:solidFill>
                <a:effectLst/>
                <a:latin typeface="Arial"/>
                <a:cs typeface="Arial"/>
              </a:rPr>
              <a:t> effects </a:t>
            </a:r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are </a:t>
            </a:r>
            <a:r>
              <a:rPr lang="en-US" sz="1800" b="0" i="0" u="none" strike="noStrike" dirty="0">
                <a:solidFill>
                  <a:schemeClr val="bg1"/>
                </a:solidFill>
                <a:effectLst/>
                <a:latin typeface="Arial"/>
                <a:cs typeface="Arial"/>
              </a:rPr>
              <a:t>co-significant </a:t>
            </a:r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is low based</a:t>
            </a:r>
            <a:r>
              <a:rPr lang="en-US" sz="1800" b="0" i="0" u="none" strike="noStrike" dirty="0">
                <a:solidFill>
                  <a:schemeClr val="bg1"/>
                </a:solidFill>
                <a:effectLst/>
                <a:latin typeface="Arial"/>
                <a:cs typeface="Arial"/>
              </a:rPr>
              <a:t> on historical data.</a:t>
            </a:r>
            <a:r>
              <a:rPr lang="en-US" sz="1800" b="0" i="0" dirty="0">
                <a:solidFill>
                  <a:schemeClr val="bg1"/>
                </a:solidFill>
                <a:effectLst/>
                <a:latin typeface="Arial"/>
                <a:cs typeface="Arial"/>
              </a:rPr>
              <a:t>​</a:t>
            </a:r>
            <a:endParaRPr lang="en-US" sz="18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B15C49-C9A0-5E0F-C357-17D62EECCF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2518" y="3012814"/>
            <a:ext cx="5508860" cy="20863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5B8ABCF-3792-628E-B77A-25CBC8CF10DD}"/>
              </a:ext>
            </a:extLst>
          </p:cNvPr>
          <p:cNvSpPr txBox="1"/>
          <p:nvPr/>
        </p:nvSpPr>
        <p:spPr>
          <a:xfrm>
            <a:off x="7831757" y="2642905"/>
            <a:ext cx="39141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-significant with other effects</a:t>
            </a: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E0706DA4-6234-CAE9-F351-8CC8314ED916}"/>
              </a:ext>
            </a:extLst>
          </p:cNvPr>
          <p:cNvSpPr/>
          <p:nvPr/>
        </p:nvSpPr>
        <p:spPr>
          <a:xfrm rot="2014309" flipH="1">
            <a:off x="3873283" y="2670496"/>
            <a:ext cx="225524" cy="393378"/>
          </a:xfrm>
          <a:prstGeom prst="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7566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15914C7-52A8-F373-7C6D-669BAF45C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3CA1D66-77EC-490C-65F1-2712B8D86F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224650"/>
            <a:ext cx="11201400" cy="32457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DoE Database:</a:t>
            </a:r>
          </a:p>
          <a:p>
            <a:r>
              <a:rPr lang="en-US" dirty="0"/>
              <a:t>Combining </a:t>
            </a:r>
            <a:r>
              <a:rPr lang="en-US" dirty="0">
                <a:solidFill>
                  <a:schemeClr val="tx1"/>
                </a:solidFill>
              </a:rPr>
              <a:t>historical DoE studies.</a:t>
            </a:r>
          </a:p>
          <a:p>
            <a:r>
              <a:rPr lang="en-US" dirty="0"/>
              <a:t>A dashboard is built to answer common questions for DoE and model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pplication of database to inform design choices: </a:t>
            </a:r>
          </a:p>
          <a:p>
            <a:r>
              <a:rPr lang="en-US" dirty="0"/>
              <a:t>OMARS is picked and historical knowledge was used to inform design choices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28C14F2-BA7D-8904-1081-0C66AFD0793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26FF7D-F559-7F02-C9FE-076739B229E2}"/>
              </a:ext>
            </a:extLst>
          </p:cNvPr>
          <p:cNvSpPr txBox="1"/>
          <p:nvPr/>
        </p:nvSpPr>
        <p:spPr>
          <a:xfrm>
            <a:off x="1767247" y="4616768"/>
            <a:ext cx="8657505" cy="7694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200" dirty="0"/>
              <a:t>Other potential use:</a:t>
            </a:r>
          </a:p>
          <a:p>
            <a:r>
              <a:rPr lang="en-US" sz="2200" dirty="0"/>
              <a:t>Historical knowledge may inform the model selection process.</a:t>
            </a:r>
          </a:p>
        </p:txBody>
      </p:sp>
    </p:spTree>
    <p:extLst>
      <p:ext uri="{BB962C8B-B14F-4D97-AF65-F5344CB8AC3E}">
        <p14:creationId xmlns:p14="http://schemas.microsoft.com/office/powerpoint/2010/main" val="231990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4100D-D66C-59B1-9C8A-D455DC654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40DA9E-A5B8-6C1C-9C33-8111192032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177355"/>
            <a:ext cx="11201400" cy="4503290"/>
          </a:xfrm>
        </p:spPr>
        <p:txBody>
          <a:bodyPr/>
          <a:lstStyle/>
          <a:p>
            <a:pPr algn="l"/>
            <a:r>
              <a:rPr lang="en-US" dirty="0"/>
              <a:t>José Núñez Ares &amp; Peter Goos (2020) Enumeration and Multicriteria Selection of Orthogonal Minimally Aliased Response Surface Designs, </a:t>
            </a:r>
            <a:r>
              <a:rPr lang="en-US" dirty="0" err="1"/>
              <a:t>Technometrics</a:t>
            </a:r>
            <a:r>
              <a:rPr lang="en-US" dirty="0"/>
              <a:t>, 62:1, 21-36.</a:t>
            </a:r>
          </a:p>
          <a:p>
            <a:pPr algn="l"/>
            <a:r>
              <a:rPr lang="en-US" dirty="0"/>
              <a:t>José Núñez Ares, Eric Schoen &amp; Peter Goos (2023) Orthogonal Minimally Aliased Response Surface Designs for Three-Level Quantitative Factors and Two-Level Categorical Factors, Statistics Sinica, 33:107-126. </a:t>
            </a:r>
          </a:p>
          <a:p>
            <a:r>
              <a:rPr lang="en-US" dirty="0" err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BIS</a:t>
            </a:r>
            <a:r>
              <a:rPr lang="en-US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23 Valencia Conference (10-14 September 2023): Tremendous Impact of the Very New and Promising OMARS DOE in Pharma Industry for Quicker Access to New Vaccines · </a:t>
            </a:r>
            <a:r>
              <a:rPr lang="en-US" dirty="0" err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BIS</a:t>
            </a:r>
            <a:r>
              <a:rPr lang="en-US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nferences (Indico)</a:t>
            </a:r>
            <a:endParaRPr lang="en-US" dirty="0"/>
          </a:p>
          <a:p>
            <a:r>
              <a:rPr lang="en-US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MARS Designs Add-in: A Gateway to a New Family of Orthogonal RSDs (2022-EU-</a:t>
            </a:r>
            <a:r>
              <a:rPr lang="en-US" dirty="0" err="1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30MP</a:t>
            </a:r>
            <a:r>
              <a:rPr lang="en-US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.. - </a:t>
            </a:r>
            <a:r>
              <a:rPr lang="en-US" dirty="0" err="1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P</a:t>
            </a:r>
            <a:r>
              <a:rPr lang="en-US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User Community</a:t>
            </a:r>
            <a:endParaRPr lang="en-US" dirty="0"/>
          </a:p>
          <a:p>
            <a:pPr algn="l"/>
            <a:endParaRPr lang="en-US" sz="2400" dirty="0"/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71F189-1556-A2F8-4E97-8D807EA8509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315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0603A6-BE2D-3081-17A4-0B774B83F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4F2A84-14B3-5837-2041-7A7D6D84FE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numCol="3" rtlCol="0" anchor="t"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Statistician</a:t>
            </a:r>
          </a:p>
          <a:p>
            <a:r>
              <a:rPr lang="en-US" dirty="0"/>
              <a:t>Aili Cheng</a:t>
            </a:r>
          </a:p>
          <a:p>
            <a:r>
              <a:rPr lang="en-US" dirty="0"/>
              <a:t>Brad Evans</a:t>
            </a:r>
          </a:p>
          <a:p>
            <a:r>
              <a:rPr lang="en-US" dirty="0"/>
              <a:t>Katie Brickey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Scientists</a:t>
            </a:r>
          </a:p>
          <a:p>
            <a:r>
              <a:rPr lang="en-US" dirty="0"/>
              <a:t>Paul A Thoday</a:t>
            </a:r>
          </a:p>
          <a:p>
            <a:r>
              <a:rPr lang="en-US" dirty="0"/>
              <a:t>Chao Ma </a:t>
            </a:r>
          </a:p>
          <a:p>
            <a:r>
              <a:rPr lang="en-US" dirty="0">
                <a:ea typeface="+mn-lt"/>
                <a:cs typeface="+mn-lt"/>
              </a:rPr>
              <a:t>Franklin Eduardo</a:t>
            </a:r>
            <a:r>
              <a:rPr lang="en-US" dirty="0"/>
              <a:t> Mejia Fria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fizer Digital</a:t>
            </a:r>
          </a:p>
          <a:p>
            <a:r>
              <a:rPr lang="en-US" dirty="0"/>
              <a:t>Adam Nieto</a:t>
            </a:r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34F18C-732D-B85A-03C0-855E98C6FB2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911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BD44B-EAA8-3877-6E92-26A75199A7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Bioprocess Flow for Drug Substance</a:t>
            </a:r>
          </a:p>
        </p:txBody>
      </p:sp>
      <p:sp>
        <p:nvSpPr>
          <p:cNvPr id="142" name="Text Box 3">
            <a:extLst>
              <a:ext uri="{FF2B5EF4-FFF2-40B4-BE49-F238E27FC236}">
                <a16:creationId xmlns:a16="http://schemas.microsoft.com/office/drawing/2014/main" id="{24A9EE97-43F7-363C-49C6-C69300DCEB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3811" y="4564859"/>
            <a:ext cx="184730" cy="3385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endParaRPr lang="en-US" sz="1600" i="1">
              <a:solidFill>
                <a:srgbClr val="FF0000"/>
              </a:solidFill>
              <a:latin typeface="Calibri" panose="020F0502020204030204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9DA5BF1-62FC-38C7-5902-12F9BF6E0A1B}"/>
              </a:ext>
            </a:extLst>
          </p:cNvPr>
          <p:cNvGrpSpPr/>
          <p:nvPr/>
        </p:nvGrpSpPr>
        <p:grpSpPr>
          <a:xfrm>
            <a:off x="452140" y="3933760"/>
            <a:ext cx="9992732" cy="1704858"/>
            <a:chOff x="441805" y="3823717"/>
            <a:chExt cx="9992732" cy="1704858"/>
          </a:xfrm>
        </p:grpSpPr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17F0772A-9D03-DB47-61EA-7936C5ABC164}"/>
                </a:ext>
              </a:extLst>
            </p:cNvPr>
            <p:cNvGrpSpPr/>
            <p:nvPr/>
          </p:nvGrpSpPr>
          <p:grpSpPr>
            <a:xfrm>
              <a:off x="1873295" y="4188308"/>
              <a:ext cx="8561242" cy="1340267"/>
              <a:chOff x="1308798" y="992040"/>
              <a:chExt cx="8561242" cy="1340267"/>
            </a:xfrm>
          </p:grpSpPr>
          <p:grpSp>
            <p:nvGrpSpPr>
              <p:cNvPr id="144" name="Group 4">
                <a:extLst>
                  <a:ext uri="{FF2B5EF4-FFF2-40B4-BE49-F238E27FC236}">
                    <a16:creationId xmlns:a16="http://schemas.microsoft.com/office/drawing/2014/main" id="{3BAF1314-5C53-DE15-FE24-0D8DF89E593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427860" y="1144440"/>
                <a:ext cx="871538" cy="762000"/>
                <a:chOff x="1488" y="1158"/>
                <a:chExt cx="723" cy="581"/>
              </a:xfrm>
            </p:grpSpPr>
            <p:grpSp>
              <p:nvGrpSpPr>
                <p:cNvPr id="211" name="Group 5">
                  <a:extLst>
                    <a:ext uri="{FF2B5EF4-FFF2-40B4-BE49-F238E27FC236}">
                      <a16:creationId xmlns:a16="http://schemas.microsoft.com/office/drawing/2014/main" id="{62CCE6F3-65E6-C0AF-FA9B-33235E22237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549" y="1158"/>
                  <a:ext cx="611" cy="526"/>
                  <a:chOff x="1460" y="3130"/>
                  <a:chExt cx="220" cy="190"/>
                </a:xfrm>
              </p:grpSpPr>
              <p:sp>
                <p:nvSpPr>
                  <p:cNvPr id="214" name="Freeform 6">
                    <a:extLst>
                      <a:ext uri="{FF2B5EF4-FFF2-40B4-BE49-F238E27FC236}">
                        <a16:creationId xmlns:a16="http://schemas.microsoft.com/office/drawing/2014/main" id="{B6493190-0D3F-15F3-02AB-9678DE5841F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60" y="3150"/>
                    <a:ext cx="220" cy="170"/>
                  </a:xfrm>
                  <a:custGeom>
                    <a:avLst/>
                    <a:gdLst>
                      <a:gd name="T0" fmla="*/ 50 w 220"/>
                      <a:gd name="T1" fmla="*/ 170 h 170"/>
                      <a:gd name="T2" fmla="*/ 90 w 220"/>
                      <a:gd name="T3" fmla="*/ 170 h 170"/>
                      <a:gd name="T4" fmla="*/ 100 w 220"/>
                      <a:gd name="T5" fmla="*/ 150 h 170"/>
                      <a:gd name="T6" fmla="*/ 100 w 220"/>
                      <a:gd name="T7" fmla="*/ 130 h 170"/>
                      <a:gd name="T8" fmla="*/ 120 w 220"/>
                      <a:gd name="T9" fmla="*/ 130 h 170"/>
                      <a:gd name="T10" fmla="*/ 120 w 220"/>
                      <a:gd name="T11" fmla="*/ 150 h 170"/>
                      <a:gd name="T12" fmla="*/ 130 w 220"/>
                      <a:gd name="T13" fmla="*/ 170 h 170"/>
                      <a:gd name="T14" fmla="*/ 170 w 220"/>
                      <a:gd name="T15" fmla="*/ 170 h 170"/>
                      <a:gd name="T16" fmla="*/ 200 w 220"/>
                      <a:gd name="T17" fmla="*/ 130 h 170"/>
                      <a:gd name="T18" fmla="*/ 220 w 220"/>
                      <a:gd name="T19" fmla="*/ 130 h 170"/>
                      <a:gd name="T20" fmla="*/ 220 w 220"/>
                      <a:gd name="T21" fmla="*/ 70 h 170"/>
                      <a:gd name="T22" fmla="*/ 210 w 220"/>
                      <a:gd name="T23" fmla="*/ 80 h 170"/>
                      <a:gd name="T24" fmla="*/ 200 w 220"/>
                      <a:gd name="T25" fmla="*/ 80 h 170"/>
                      <a:gd name="T26" fmla="*/ 140 w 220"/>
                      <a:gd name="T27" fmla="*/ 10 h 170"/>
                      <a:gd name="T28" fmla="*/ 140 w 220"/>
                      <a:gd name="T29" fmla="*/ 0 h 170"/>
                      <a:gd name="T30" fmla="*/ 80 w 220"/>
                      <a:gd name="T31" fmla="*/ 0 h 170"/>
                      <a:gd name="T32" fmla="*/ 80 w 220"/>
                      <a:gd name="T33" fmla="*/ 10 h 170"/>
                      <a:gd name="T34" fmla="*/ 20 w 220"/>
                      <a:gd name="T35" fmla="*/ 80 h 170"/>
                      <a:gd name="T36" fmla="*/ 10 w 220"/>
                      <a:gd name="T37" fmla="*/ 80 h 170"/>
                      <a:gd name="T38" fmla="*/ 0 w 220"/>
                      <a:gd name="T39" fmla="*/ 70 h 170"/>
                      <a:gd name="T40" fmla="*/ 0 w 220"/>
                      <a:gd name="T41" fmla="*/ 130 h 170"/>
                      <a:gd name="T42" fmla="*/ 20 w 220"/>
                      <a:gd name="T43" fmla="*/ 130 h 170"/>
                      <a:gd name="T44" fmla="*/ 50 w 220"/>
                      <a:gd name="T45" fmla="*/ 170 h 170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20"/>
                      <a:gd name="T70" fmla="*/ 0 h 170"/>
                      <a:gd name="T71" fmla="*/ 220 w 220"/>
                      <a:gd name="T72" fmla="*/ 170 h 170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20" h="170">
                        <a:moveTo>
                          <a:pt x="50" y="170"/>
                        </a:moveTo>
                        <a:lnTo>
                          <a:pt x="90" y="170"/>
                        </a:lnTo>
                        <a:lnTo>
                          <a:pt x="100" y="150"/>
                        </a:lnTo>
                        <a:lnTo>
                          <a:pt x="100" y="130"/>
                        </a:lnTo>
                        <a:lnTo>
                          <a:pt x="120" y="130"/>
                        </a:lnTo>
                        <a:lnTo>
                          <a:pt x="120" y="150"/>
                        </a:lnTo>
                        <a:lnTo>
                          <a:pt x="130" y="170"/>
                        </a:lnTo>
                        <a:lnTo>
                          <a:pt x="170" y="170"/>
                        </a:lnTo>
                        <a:lnTo>
                          <a:pt x="200" y="130"/>
                        </a:lnTo>
                        <a:lnTo>
                          <a:pt x="220" y="130"/>
                        </a:lnTo>
                        <a:lnTo>
                          <a:pt x="220" y="70"/>
                        </a:lnTo>
                        <a:lnTo>
                          <a:pt x="210" y="80"/>
                        </a:lnTo>
                        <a:lnTo>
                          <a:pt x="200" y="80"/>
                        </a:lnTo>
                        <a:lnTo>
                          <a:pt x="140" y="10"/>
                        </a:lnTo>
                        <a:lnTo>
                          <a:pt x="140" y="0"/>
                        </a:lnTo>
                        <a:lnTo>
                          <a:pt x="80" y="0"/>
                        </a:lnTo>
                        <a:lnTo>
                          <a:pt x="80" y="10"/>
                        </a:lnTo>
                        <a:lnTo>
                          <a:pt x="20" y="80"/>
                        </a:lnTo>
                        <a:lnTo>
                          <a:pt x="10" y="80"/>
                        </a:lnTo>
                        <a:lnTo>
                          <a:pt x="0" y="70"/>
                        </a:lnTo>
                        <a:lnTo>
                          <a:pt x="0" y="130"/>
                        </a:lnTo>
                        <a:lnTo>
                          <a:pt x="20" y="130"/>
                        </a:lnTo>
                        <a:lnTo>
                          <a:pt x="50" y="170"/>
                        </a:lnTo>
                        <a:close/>
                      </a:path>
                    </a:pathLst>
                  </a:custGeom>
                  <a:solidFill>
                    <a:srgbClr val="5D5D5D"/>
                  </a:solidFill>
                  <a:ln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en-US" sz="1600">
                      <a:solidFill>
                        <a:prstClr val="black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215" name="Freeform 7">
                    <a:extLst>
                      <a:ext uri="{FF2B5EF4-FFF2-40B4-BE49-F238E27FC236}">
                        <a16:creationId xmlns:a16="http://schemas.microsoft.com/office/drawing/2014/main" id="{B32D839D-6AD6-F2CC-4A36-EF835FFACCC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0" y="3170"/>
                    <a:ext cx="200" cy="130"/>
                  </a:xfrm>
                  <a:custGeom>
                    <a:avLst/>
                    <a:gdLst>
                      <a:gd name="T0" fmla="*/ 0 w 200"/>
                      <a:gd name="T1" fmla="*/ 80 h 130"/>
                      <a:gd name="T2" fmla="*/ 10 w 200"/>
                      <a:gd name="T3" fmla="*/ 80 h 130"/>
                      <a:gd name="T4" fmla="*/ 40 w 200"/>
                      <a:gd name="T5" fmla="*/ 130 h 130"/>
                      <a:gd name="T6" fmla="*/ 50 w 200"/>
                      <a:gd name="T7" fmla="*/ 130 h 130"/>
                      <a:gd name="T8" fmla="*/ 80 w 200"/>
                      <a:gd name="T9" fmla="*/ 110 h 130"/>
                      <a:gd name="T10" fmla="*/ 100 w 200"/>
                      <a:gd name="T11" fmla="*/ 90 h 130"/>
                      <a:gd name="T12" fmla="*/ 120 w 200"/>
                      <a:gd name="T13" fmla="*/ 110 h 130"/>
                      <a:gd name="T14" fmla="*/ 150 w 200"/>
                      <a:gd name="T15" fmla="*/ 130 h 130"/>
                      <a:gd name="T16" fmla="*/ 160 w 200"/>
                      <a:gd name="T17" fmla="*/ 130 h 130"/>
                      <a:gd name="T18" fmla="*/ 190 w 200"/>
                      <a:gd name="T19" fmla="*/ 80 h 130"/>
                      <a:gd name="T20" fmla="*/ 200 w 200"/>
                      <a:gd name="T21" fmla="*/ 80 h 130"/>
                      <a:gd name="T22" fmla="*/ 130 w 200"/>
                      <a:gd name="T23" fmla="*/ 0 h 130"/>
                      <a:gd name="T24" fmla="*/ 70 w 200"/>
                      <a:gd name="T25" fmla="*/ 0 h 130"/>
                      <a:gd name="T26" fmla="*/ 0 w 200"/>
                      <a:gd name="T27" fmla="*/ 80 h 130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200"/>
                      <a:gd name="T43" fmla="*/ 0 h 130"/>
                      <a:gd name="T44" fmla="*/ 200 w 200"/>
                      <a:gd name="T45" fmla="*/ 130 h 130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200" h="130">
                        <a:moveTo>
                          <a:pt x="0" y="80"/>
                        </a:moveTo>
                        <a:lnTo>
                          <a:pt x="10" y="80"/>
                        </a:lnTo>
                        <a:lnTo>
                          <a:pt x="40" y="130"/>
                        </a:lnTo>
                        <a:lnTo>
                          <a:pt x="50" y="130"/>
                        </a:lnTo>
                        <a:lnTo>
                          <a:pt x="80" y="110"/>
                        </a:lnTo>
                        <a:lnTo>
                          <a:pt x="100" y="90"/>
                        </a:lnTo>
                        <a:lnTo>
                          <a:pt x="120" y="110"/>
                        </a:lnTo>
                        <a:lnTo>
                          <a:pt x="150" y="130"/>
                        </a:lnTo>
                        <a:lnTo>
                          <a:pt x="160" y="130"/>
                        </a:lnTo>
                        <a:lnTo>
                          <a:pt x="190" y="80"/>
                        </a:lnTo>
                        <a:lnTo>
                          <a:pt x="200" y="80"/>
                        </a:lnTo>
                        <a:lnTo>
                          <a:pt x="130" y="0"/>
                        </a:lnTo>
                        <a:lnTo>
                          <a:pt x="70" y="0"/>
                        </a:lnTo>
                        <a:lnTo>
                          <a:pt x="0" y="8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en-US" sz="1600">
                      <a:solidFill>
                        <a:prstClr val="black"/>
                      </a:solidFill>
                      <a:latin typeface="Calibri" panose="020F0502020204030204"/>
                    </a:endParaRPr>
                  </a:p>
                </p:txBody>
              </p:sp>
              <p:grpSp>
                <p:nvGrpSpPr>
                  <p:cNvPr id="216" name="Group 8">
                    <a:extLst>
                      <a:ext uri="{FF2B5EF4-FFF2-40B4-BE49-F238E27FC236}">
                        <a16:creationId xmlns:a16="http://schemas.microsoft.com/office/drawing/2014/main" id="{8218D211-C663-9A1D-76E8-09FEB0BF3BAD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1460" y="3130"/>
                    <a:ext cx="220" cy="190"/>
                    <a:chOff x="980" y="3150"/>
                    <a:chExt cx="220" cy="190"/>
                  </a:xfrm>
                </p:grpSpPr>
                <p:sp>
                  <p:nvSpPr>
                    <p:cNvPr id="217" name="AutoShape 9">
                      <a:extLst>
                        <a:ext uri="{FF2B5EF4-FFF2-40B4-BE49-F238E27FC236}">
                          <a16:creationId xmlns:a16="http://schemas.microsoft.com/office/drawing/2014/main" id="{366291FD-DFC6-DBAD-2FE7-B6D15489E662}"/>
                        </a:ext>
                      </a:extLst>
                    </p:cNvPr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060" y="3168"/>
                      <a:ext cx="60" cy="22"/>
                    </a:xfrm>
                    <a:prstGeom prst="roundRect">
                      <a:avLst>
                        <a:gd name="adj" fmla="val 5407"/>
                      </a:avLst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grpSp>
                  <p:nvGrpSpPr>
                    <p:cNvPr id="218" name="Group 10">
                      <a:extLst>
                        <a:ext uri="{FF2B5EF4-FFF2-40B4-BE49-F238E27FC236}">
                          <a16:creationId xmlns:a16="http://schemas.microsoft.com/office/drawing/2014/main" id="{C2CDBFB1-AD0A-B783-7512-82F23982EA3C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auto">
                    <a:xfrm>
                      <a:off x="1030" y="3210"/>
                      <a:ext cx="40" cy="90"/>
                      <a:chOff x="810" y="3180"/>
                      <a:chExt cx="30" cy="90"/>
                    </a:xfrm>
                  </p:grpSpPr>
                  <p:sp>
                    <p:nvSpPr>
                      <p:cNvPr id="269" name="Line 11">
                        <a:extLst>
                          <a:ext uri="{FF2B5EF4-FFF2-40B4-BE49-F238E27FC236}">
                            <a16:creationId xmlns:a16="http://schemas.microsoft.com/office/drawing/2014/main" id="{3553A1E2-FD7C-E96B-4BF8-D29CF18DE285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18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70" name="Line 12">
                        <a:extLst>
                          <a:ext uri="{FF2B5EF4-FFF2-40B4-BE49-F238E27FC236}">
                            <a16:creationId xmlns:a16="http://schemas.microsoft.com/office/drawing/2014/main" id="{218DB4AD-EC46-84E1-76ED-72B5F767F1DB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19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71" name="Line 13">
                        <a:extLst>
                          <a:ext uri="{FF2B5EF4-FFF2-40B4-BE49-F238E27FC236}">
                            <a16:creationId xmlns:a16="http://schemas.microsoft.com/office/drawing/2014/main" id="{EDF37A4F-AD9F-B97F-B4D1-256694D87CCD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0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72" name="Line 14">
                        <a:extLst>
                          <a:ext uri="{FF2B5EF4-FFF2-40B4-BE49-F238E27FC236}">
                            <a16:creationId xmlns:a16="http://schemas.microsoft.com/office/drawing/2014/main" id="{77242253-1ACD-3B1E-E27B-0AD739B78F31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1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73" name="Line 15">
                        <a:extLst>
                          <a:ext uri="{FF2B5EF4-FFF2-40B4-BE49-F238E27FC236}">
                            <a16:creationId xmlns:a16="http://schemas.microsoft.com/office/drawing/2014/main" id="{6B279860-1779-C007-A601-5E139495374C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2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74" name="Line 16">
                        <a:extLst>
                          <a:ext uri="{FF2B5EF4-FFF2-40B4-BE49-F238E27FC236}">
                            <a16:creationId xmlns:a16="http://schemas.microsoft.com/office/drawing/2014/main" id="{B6C33F51-35F9-A382-4812-BF9776552AAC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3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75" name="Line 17">
                        <a:extLst>
                          <a:ext uri="{FF2B5EF4-FFF2-40B4-BE49-F238E27FC236}">
                            <a16:creationId xmlns:a16="http://schemas.microsoft.com/office/drawing/2014/main" id="{94580BAD-5A58-C8B5-8AD4-4BEB42188A13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4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76" name="Line 18">
                        <a:extLst>
                          <a:ext uri="{FF2B5EF4-FFF2-40B4-BE49-F238E27FC236}">
                            <a16:creationId xmlns:a16="http://schemas.microsoft.com/office/drawing/2014/main" id="{7ECB44F9-DE31-A890-18B0-8DDDEAB37A77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5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</p:grpSp>
                <p:grpSp>
                  <p:nvGrpSpPr>
                    <p:cNvPr id="219" name="Group 19">
                      <a:extLst>
                        <a:ext uri="{FF2B5EF4-FFF2-40B4-BE49-F238E27FC236}">
                          <a16:creationId xmlns:a16="http://schemas.microsoft.com/office/drawing/2014/main" id="{FE9A54A1-5FC0-F937-F078-65270D6F5F16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auto">
                    <a:xfrm flipH="1">
                      <a:off x="1110" y="3210"/>
                      <a:ext cx="40" cy="90"/>
                      <a:chOff x="810" y="3180"/>
                      <a:chExt cx="30" cy="90"/>
                    </a:xfrm>
                  </p:grpSpPr>
                  <p:sp>
                    <p:nvSpPr>
                      <p:cNvPr id="261" name="Line 20">
                        <a:extLst>
                          <a:ext uri="{FF2B5EF4-FFF2-40B4-BE49-F238E27FC236}">
                            <a16:creationId xmlns:a16="http://schemas.microsoft.com/office/drawing/2014/main" id="{5AB2F55A-DE04-B3DA-34FF-31763C517B97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18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62" name="Line 21">
                        <a:extLst>
                          <a:ext uri="{FF2B5EF4-FFF2-40B4-BE49-F238E27FC236}">
                            <a16:creationId xmlns:a16="http://schemas.microsoft.com/office/drawing/2014/main" id="{15A33FD3-86C2-2C77-8A30-FD7566204F14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19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63" name="Line 22">
                        <a:extLst>
                          <a:ext uri="{FF2B5EF4-FFF2-40B4-BE49-F238E27FC236}">
                            <a16:creationId xmlns:a16="http://schemas.microsoft.com/office/drawing/2014/main" id="{0BA84846-5F98-C774-F5DD-A0EE20283A51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0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64" name="Line 23">
                        <a:extLst>
                          <a:ext uri="{FF2B5EF4-FFF2-40B4-BE49-F238E27FC236}">
                            <a16:creationId xmlns:a16="http://schemas.microsoft.com/office/drawing/2014/main" id="{62504C22-6FE6-AED0-46FC-8068698CAD4E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1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65" name="Line 24">
                        <a:extLst>
                          <a:ext uri="{FF2B5EF4-FFF2-40B4-BE49-F238E27FC236}">
                            <a16:creationId xmlns:a16="http://schemas.microsoft.com/office/drawing/2014/main" id="{32DD092A-E6C5-215D-12B0-4FB7713CDEE5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2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66" name="Line 25">
                        <a:extLst>
                          <a:ext uri="{FF2B5EF4-FFF2-40B4-BE49-F238E27FC236}">
                            <a16:creationId xmlns:a16="http://schemas.microsoft.com/office/drawing/2014/main" id="{13439A6C-2A58-370F-6773-97CAC449897F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3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67" name="Line 26">
                        <a:extLst>
                          <a:ext uri="{FF2B5EF4-FFF2-40B4-BE49-F238E27FC236}">
                            <a16:creationId xmlns:a16="http://schemas.microsoft.com/office/drawing/2014/main" id="{F59F5217-DC9A-588C-2E19-F8CB2DD20D39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4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  <p:sp>
                    <p:nvSpPr>
                      <p:cNvPr id="268" name="Line 27">
                        <a:extLst>
                          <a:ext uri="{FF2B5EF4-FFF2-40B4-BE49-F238E27FC236}">
                            <a16:creationId xmlns:a16="http://schemas.microsoft.com/office/drawing/2014/main" id="{C69B524F-0A45-32C2-691E-BDA78F950DE5}"/>
                          </a:ext>
                        </a:extLst>
                      </p:cNvPr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810" y="3250"/>
                        <a:ext cx="30" cy="2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sz="1600">
                          <a:solidFill>
                            <a:prstClr val="black"/>
                          </a:solidFill>
                          <a:latin typeface="Calibri" panose="020F0502020204030204"/>
                        </a:endParaRPr>
                      </a:p>
                    </p:txBody>
                  </p:sp>
                </p:grpSp>
                <p:sp>
                  <p:nvSpPr>
                    <p:cNvPr id="220" name="Line 28">
                      <a:extLst>
                        <a:ext uri="{FF2B5EF4-FFF2-40B4-BE49-F238E27FC236}">
                          <a16:creationId xmlns:a16="http://schemas.microsoft.com/office/drawing/2014/main" id="{FADE99EF-F9D2-4CE9-2098-F9F75845A726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070" y="3200"/>
                      <a:ext cx="10" cy="90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21" name="Line 29">
                      <a:extLst>
                        <a:ext uri="{FF2B5EF4-FFF2-40B4-BE49-F238E27FC236}">
                          <a16:creationId xmlns:a16="http://schemas.microsoft.com/office/drawing/2014/main" id="{A31EE582-117C-ACE1-EB17-932ED2FAA8FC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100" y="3200"/>
                      <a:ext cx="10" cy="90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22" name="Line 30">
                      <a:extLst>
                        <a:ext uri="{FF2B5EF4-FFF2-40B4-BE49-F238E27FC236}">
                          <a16:creationId xmlns:a16="http://schemas.microsoft.com/office/drawing/2014/main" id="{C5A1AD2A-6BD1-3CA3-29D0-59C7F7B03650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1080" y="3150"/>
                      <a:ext cx="0" cy="1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23" name="Line 31">
                      <a:extLst>
                        <a:ext uri="{FF2B5EF4-FFF2-40B4-BE49-F238E27FC236}">
                          <a16:creationId xmlns:a16="http://schemas.microsoft.com/office/drawing/2014/main" id="{4DAF5B51-85C6-4968-3537-2D08BEBE1B7D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1100" y="3150"/>
                      <a:ext cx="0" cy="1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24" name="Line 32">
                      <a:extLst>
                        <a:ext uri="{FF2B5EF4-FFF2-40B4-BE49-F238E27FC236}">
                          <a16:creationId xmlns:a16="http://schemas.microsoft.com/office/drawing/2014/main" id="{6DB2794D-F278-6B67-9ADF-3110B029B966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040" y="3290"/>
                      <a:ext cx="30" cy="20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25" name="Line 33">
                      <a:extLst>
                        <a:ext uri="{FF2B5EF4-FFF2-40B4-BE49-F238E27FC236}">
                          <a16:creationId xmlns:a16="http://schemas.microsoft.com/office/drawing/2014/main" id="{1FE3956F-8E2F-3CB1-AB5A-2585DB08D8E7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110" y="3290"/>
                      <a:ext cx="30" cy="20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26" name="Line 34">
                      <a:extLst>
                        <a:ext uri="{FF2B5EF4-FFF2-40B4-BE49-F238E27FC236}">
                          <a16:creationId xmlns:a16="http://schemas.microsoft.com/office/drawing/2014/main" id="{6E2214C0-D0F5-6BA0-B3F6-0AA2E4A3609F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070" y="3200"/>
                      <a:ext cx="40" cy="0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27" name="Line 35">
                      <a:extLst>
                        <a:ext uri="{FF2B5EF4-FFF2-40B4-BE49-F238E27FC236}">
                          <a16:creationId xmlns:a16="http://schemas.microsoft.com/office/drawing/2014/main" id="{23204ED8-637B-CDBB-1B3E-FB518684D0F3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070" y="3280"/>
                      <a:ext cx="20" cy="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28" name="Line 36">
                      <a:extLst>
                        <a:ext uri="{FF2B5EF4-FFF2-40B4-BE49-F238E27FC236}">
                          <a16:creationId xmlns:a16="http://schemas.microsoft.com/office/drawing/2014/main" id="{DC067E41-BD4B-01E0-F671-80E7D57735AC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090" y="3280"/>
                      <a:ext cx="20" cy="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29" name="Line 37">
                      <a:extLst>
                        <a:ext uri="{FF2B5EF4-FFF2-40B4-BE49-F238E27FC236}">
                          <a16:creationId xmlns:a16="http://schemas.microsoft.com/office/drawing/2014/main" id="{7C307C7E-1D01-D785-603C-2D59A52ED1A0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110" y="3300"/>
                      <a:ext cx="30" cy="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0" name="Line 38">
                      <a:extLst>
                        <a:ext uri="{FF2B5EF4-FFF2-40B4-BE49-F238E27FC236}">
                          <a16:creationId xmlns:a16="http://schemas.microsoft.com/office/drawing/2014/main" id="{69691291-FEBD-FC5A-B8FD-6BA5BD4521FF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040" y="3300"/>
                      <a:ext cx="30" cy="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1" name="Line 39">
                      <a:extLst>
                        <a:ext uri="{FF2B5EF4-FFF2-40B4-BE49-F238E27FC236}">
                          <a16:creationId xmlns:a16="http://schemas.microsoft.com/office/drawing/2014/main" id="{44A23ED6-7115-AEB1-A38C-A29BCE1C756D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030" y="3320"/>
                      <a:ext cx="1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2" name="Line 40">
                      <a:extLst>
                        <a:ext uri="{FF2B5EF4-FFF2-40B4-BE49-F238E27FC236}">
                          <a16:creationId xmlns:a16="http://schemas.microsoft.com/office/drawing/2014/main" id="{944C55F0-8DC7-33AA-9BA9-52C02C0D81AF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140" y="3320"/>
                      <a:ext cx="1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3" name="Line 41">
                      <a:extLst>
                        <a:ext uri="{FF2B5EF4-FFF2-40B4-BE49-F238E27FC236}">
                          <a16:creationId xmlns:a16="http://schemas.microsoft.com/office/drawing/2014/main" id="{96DDF5BD-A95A-3514-CD86-24F301AC1CA1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1150" y="3270"/>
                      <a:ext cx="30" cy="5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4" name="Line 42">
                      <a:extLst>
                        <a:ext uri="{FF2B5EF4-FFF2-40B4-BE49-F238E27FC236}">
                          <a16:creationId xmlns:a16="http://schemas.microsoft.com/office/drawing/2014/main" id="{8CFD70B7-CC2E-CC70-A81E-9B60156AE3DE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 flipV="1">
                      <a:off x="1000" y="3270"/>
                      <a:ext cx="30" cy="5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5" name="Line 43">
                      <a:extLst>
                        <a:ext uri="{FF2B5EF4-FFF2-40B4-BE49-F238E27FC236}">
                          <a16:creationId xmlns:a16="http://schemas.microsoft.com/office/drawing/2014/main" id="{EE98A0C5-A8C7-E019-691E-1C4ABC283FB2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180" y="3300"/>
                      <a:ext cx="2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6" name="Line 44">
                      <a:extLst>
                        <a:ext uri="{FF2B5EF4-FFF2-40B4-BE49-F238E27FC236}">
                          <a16:creationId xmlns:a16="http://schemas.microsoft.com/office/drawing/2014/main" id="{1AF817CB-A501-BBDF-C272-584422CF58F2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1150" y="3300"/>
                      <a:ext cx="30" cy="4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7" name="Line 45">
                      <a:extLst>
                        <a:ext uri="{FF2B5EF4-FFF2-40B4-BE49-F238E27FC236}">
                          <a16:creationId xmlns:a16="http://schemas.microsoft.com/office/drawing/2014/main" id="{B0105173-0333-0F48-2E9E-26349A7E2538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1200" y="3260"/>
                      <a:ext cx="0" cy="4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8" name="Line 46">
                      <a:extLst>
                        <a:ext uri="{FF2B5EF4-FFF2-40B4-BE49-F238E27FC236}">
                          <a16:creationId xmlns:a16="http://schemas.microsoft.com/office/drawing/2014/main" id="{CF641AB3-BA04-6F6B-2F18-A475E55BFAF9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1180" y="3270"/>
                      <a:ext cx="2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39" name="Line 47">
                      <a:extLst>
                        <a:ext uri="{FF2B5EF4-FFF2-40B4-BE49-F238E27FC236}">
                          <a16:creationId xmlns:a16="http://schemas.microsoft.com/office/drawing/2014/main" id="{C4E3E137-BC32-562E-6CAF-D2EED6308B1F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110" y="3340"/>
                      <a:ext cx="4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0" name="Line 48">
                      <a:extLst>
                        <a:ext uri="{FF2B5EF4-FFF2-40B4-BE49-F238E27FC236}">
                          <a16:creationId xmlns:a16="http://schemas.microsoft.com/office/drawing/2014/main" id="{E5CBEB06-1BE3-1A8C-6641-6508CE1695CD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 flipV="1">
                      <a:off x="980" y="3240"/>
                      <a:ext cx="10" cy="1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1" name="Line 49">
                      <a:extLst>
                        <a:ext uri="{FF2B5EF4-FFF2-40B4-BE49-F238E27FC236}">
                          <a16:creationId xmlns:a16="http://schemas.microsoft.com/office/drawing/2014/main" id="{FF57AA2A-F86B-5E1F-7DE4-56F361C764DD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980" y="3240"/>
                      <a:ext cx="0" cy="6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2" name="Line 50">
                      <a:extLst>
                        <a:ext uri="{FF2B5EF4-FFF2-40B4-BE49-F238E27FC236}">
                          <a16:creationId xmlns:a16="http://schemas.microsoft.com/office/drawing/2014/main" id="{10E69211-FCE1-42F2-8EBA-DAB6B1E83630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990" y="3250"/>
                      <a:ext cx="1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3" name="Line 51">
                      <a:extLst>
                        <a:ext uri="{FF2B5EF4-FFF2-40B4-BE49-F238E27FC236}">
                          <a16:creationId xmlns:a16="http://schemas.microsoft.com/office/drawing/2014/main" id="{7A8DB2D2-20EC-5EBC-21BA-016199B59415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 flipV="1">
                      <a:off x="1120" y="3190"/>
                      <a:ext cx="70" cy="8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4" name="Line 52">
                      <a:extLst>
                        <a:ext uri="{FF2B5EF4-FFF2-40B4-BE49-F238E27FC236}">
                          <a16:creationId xmlns:a16="http://schemas.microsoft.com/office/drawing/2014/main" id="{298ED7EA-1B8E-5A9A-7CBC-E93EF933938E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990" y="3190"/>
                      <a:ext cx="70" cy="8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5" name="Line 53">
                      <a:extLst>
                        <a:ext uri="{FF2B5EF4-FFF2-40B4-BE49-F238E27FC236}">
                          <a16:creationId xmlns:a16="http://schemas.microsoft.com/office/drawing/2014/main" id="{F9B1FE3E-822B-6207-5A0D-F83A830AC9FE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1000" y="3180"/>
                      <a:ext cx="60" cy="7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6" name="Line 54">
                      <a:extLst>
                        <a:ext uri="{FF2B5EF4-FFF2-40B4-BE49-F238E27FC236}">
                          <a16:creationId xmlns:a16="http://schemas.microsoft.com/office/drawing/2014/main" id="{37C01FFB-C16A-6FEE-6B8B-2798D13C6D0B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120" y="3180"/>
                      <a:ext cx="60" cy="7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7" name="Line 55">
                      <a:extLst>
                        <a:ext uri="{FF2B5EF4-FFF2-40B4-BE49-F238E27FC236}">
                          <a16:creationId xmlns:a16="http://schemas.microsoft.com/office/drawing/2014/main" id="{AA101EEE-5CAC-43BE-831E-C288065AF549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180" y="3250"/>
                      <a:ext cx="1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8" name="Line 56">
                      <a:extLst>
                        <a:ext uri="{FF2B5EF4-FFF2-40B4-BE49-F238E27FC236}">
                          <a16:creationId xmlns:a16="http://schemas.microsoft.com/office/drawing/2014/main" id="{156CF126-06AC-267B-D144-6652D8E8527B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1190" y="3240"/>
                      <a:ext cx="10" cy="1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49" name="Line 57">
                      <a:extLst>
                        <a:ext uri="{FF2B5EF4-FFF2-40B4-BE49-F238E27FC236}">
                          <a16:creationId xmlns:a16="http://schemas.microsoft.com/office/drawing/2014/main" id="{B762D583-196F-5544-77C7-DF033BCE3918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200" y="3240"/>
                      <a:ext cx="0" cy="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0" name="Line 58">
                      <a:extLst>
                        <a:ext uri="{FF2B5EF4-FFF2-40B4-BE49-F238E27FC236}">
                          <a16:creationId xmlns:a16="http://schemas.microsoft.com/office/drawing/2014/main" id="{E3912C2B-6B6A-FDD1-06CF-777B18B121A1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 flipV="1">
                      <a:off x="1100" y="3320"/>
                      <a:ext cx="10" cy="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1" name="Line 59">
                      <a:extLst>
                        <a:ext uri="{FF2B5EF4-FFF2-40B4-BE49-F238E27FC236}">
                          <a16:creationId xmlns:a16="http://schemas.microsoft.com/office/drawing/2014/main" id="{CF1DF4F9-5097-D8EA-083A-F1670B75B2E4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V="1">
                      <a:off x="1100" y="3300"/>
                      <a:ext cx="0" cy="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2" name="Line 60">
                      <a:extLst>
                        <a:ext uri="{FF2B5EF4-FFF2-40B4-BE49-F238E27FC236}">
                          <a16:creationId xmlns:a16="http://schemas.microsoft.com/office/drawing/2014/main" id="{6E4BD991-3545-3FB0-7DB4-ADE5A4F044F5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080" y="3300"/>
                      <a:ext cx="0" cy="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3" name="Line 61">
                      <a:extLst>
                        <a:ext uri="{FF2B5EF4-FFF2-40B4-BE49-F238E27FC236}">
                          <a16:creationId xmlns:a16="http://schemas.microsoft.com/office/drawing/2014/main" id="{1085DFE3-B1BE-21C4-6C9C-58465F20374B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070" y="3320"/>
                      <a:ext cx="10" cy="2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4" name="Line 62">
                      <a:extLst>
                        <a:ext uri="{FF2B5EF4-FFF2-40B4-BE49-F238E27FC236}">
                          <a16:creationId xmlns:a16="http://schemas.microsoft.com/office/drawing/2014/main" id="{13CC8D47-8949-A28B-69A3-BC87FC29876D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030" y="3340"/>
                      <a:ext cx="4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5" name="Line 63">
                      <a:extLst>
                        <a:ext uri="{FF2B5EF4-FFF2-40B4-BE49-F238E27FC236}">
                          <a16:creationId xmlns:a16="http://schemas.microsoft.com/office/drawing/2014/main" id="{C6A9A558-D8D3-5258-4D65-77533CDE6CEC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 flipV="1">
                      <a:off x="1000" y="3300"/>
                      <a:ext cx="30" cy="4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6" name="Line 64">
                      <a:extLst>
                        <a:ext uri="{FF2B5EF4-FFF2-40B4-BE49-F238E27FC236}">
                          <a16:creationId xmlns:a16="http://schemas.microsoft.com/office/drawing/2014/main" id="{D4A46C5B-92DF-8251-D033-CDEF6978CF93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980" y="3300"/>
                      <a:ext cx="2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7" name="Line 65">
                      <a:extLst>
                        <a:ext uri="{FF2B5EF4-FFF2-40B4-BE49-F238E27FC236}">
                          <a16:creationId xmlns:a16="http://schemas.microsoft.com/office/drawing/2014/main" id="{B23318CD-3B98-8ECF-31D9-D639275EE79D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980" y="3270"/>
                      <a:ext cx="2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8" name="Line 66">
                      <a:extLst>
                        <a:ext uri="{FF2B5EF4-FFF2-40B4-BE49-F238E27FC236}">
                          <a16:creationId xmlns:a16="http://schemas.microsoft.com/office/drawing/2014/main" id="{093D22B6-5448-6C96-EDD7-0AD6396441DE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080" y="3300"/>
                      <a:ext cx="20" cy="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59" name="Line 67">
                      <a:extLst>
                        <a:ext uri="{FF2B5EF4-FFF2-40B4-BE49-F238E27FC236}">
                          <a16:creationId xmlns:a16="http://schemas.microsoft.com/office/drawing/2014/main" id="{B62E236F-1D26-9A17-6443-60A33952657F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060" y="3180"/>
                      <a:ext cx="0" cy="1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260" name="Line 68">
                      <a:extLst>
                        <a:ext uri="{FF2B5EF4-FFF2-40B4-BE49-F238E27FC236}">
                          <a16:creationId xmlns:a16="http://schemas.microsoft.com/office/drawing/2014/main" id="{2A3CA406-99CF-03EF-56F6-3BAEE5E4AA33}"/>
                        </a:ext>
                      </a:extLst>
                    </p:cNvPr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120" y="3180"/>
                      <a:ext cx="0" cy="10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600">
                        <a:solidFill>
                          <a:prstClr val="black"/>
                        </a:solidFill>
                        <a:latin typeface="Calibri" panose="020F0502020204030204"/>
                      </a:endParaRPr>
                    </a:p>
                  </p:txBody>
                </p:sp>
              </p:grpSp>
            </p:grpSp>
            <p:sp>
              <p:nvSpPr>
                <p:cNvPr id="212" name="Rectangle 69">
                  <a:extLst>
                    <a:ext uri="{FF2B5EF4-FFF2-40B4-BE49-F238E27FC236}">
                      <a16:creationId xmlns:a16="http://schemas.microsoft.com/office/drawing/2014/main" id="{861D2F03-F57B-9BDC-5DF2-32564A8EEEB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039" y="1573"/>
                  <a:ext cx="55" cy="166"/>
                </a:xfrm>
                <a:prstGeom prst="rect">
                  <a:avLst/>
                </a:prstGeom>
                <a:gradFill rotWithShape="0">
                  <a:gsLst>
                    <a:gs pos="0">
                      <a:srgbClr val="FFFFFF"/>
                    </a:gs>
                    <a:gs pos="100000">
                      <a:srgbClr val="767676"/>
                    </a:gs>
                  </a:gsLst>
                  <a:lin ang="0" scaled="1"/>
                </a:gra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13" name="Freeform 70">
                  <a:extLst>
                    <a:ext uri="{FF2B5EF4-FFF2-40B4-BE49-F238E27FC236}">
                      <a16:creationId xmlns:a16="http://schemas.microsoft.com/office/drawing/2014/main" id="{3DA1E067-BFC0-AAAA-B2E4-5A120BB56F0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488" y="1158"/>
                  <a:ext cx="723" cy="581"/>
                </a:xfrm>
                <a:custGeom>
                  <a:avLst/>
                  <a:gdLst>
                    <a:gd name="T0" fmla="*/ 40 w 260"/>
                    <a:gd name="T1" fmla="*/ 210 h 210"/>
                    <a:gd name="T2" fmla="*/ 220 w 260"/>
                    <a:gd name="T3" fmla="*/ 210 h 210"/>
                    <a:gd name="T4" fmla="*/ 260 w 260"/>
                    <a:gd name="T5" fmla="*/ 160 h 210"/>
                    <a:gd name="T6" fmla="*/ 260 w 260"/>
                    <a:gd name="T7" fmla="*/ 110 h 210"/>
                    <a:gd name="T8" fmla="*/ 180 w 260"/>
                    <a:gd name="T9" fmla="*/ 0 h 210"/>
                    <a:gd name="T10" fmla="*/ 80 w 260"/>
                    <a:gd name="T11" fmla="*/ 0 h 210"/>
                    <a:gd name="T12" fmla="*/ 0 w 260"/>
                    <a:gd name="T13" fmla="*/ 110 h 210"/>
                    <a:gd name="T14" fmla="*/ 0 w 260"/>
                    <a:gd name="T15" fmla="*/ 160 h 210"/>
                    <a:gd name="T16" fmla="*/ 40 w 260"/>
                    <a:gd name="T17" fmla="*/ 210 h 21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60"/>
                    <a:gd name="T28" fmla="*/ 0 h 210"/>
                    <a:gd name="T29" fmla="*/ 260 w 260"/>
                    <a:gd name="T30" fmla="*/ 210 h 21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60" h="210">
                      <a:moveTo>
                        <a:pt x="40" y="210"/>
                      </a:moveTo>
                      <a:lnTo>
                        <a:pt x="220" y="210"/>
                      </a:lnTo>
                      <a:lnTo>
                        <a:pt x="260" y="160"/>
                      </a:lnTo>
                      <a:lnTo>
                        <a:pt x="260" y="110"/>
                      </a:lnTo>
                      <a:lnTo>
                        <a:pt x="180" y="0"/>
                      </a:lnTo>
                      <a:lnTo>
                        <a:pt x="80" y="0"/>
                      </a:lnTo>
                      <a:lnTo>
                        <a:pt x="0" y="110"/>
                      </a:lnTo>
                      <a:lnTo>
                        <a:pt x="0" y="160"/>
                      </a:lnTo>
                      <a:lnTo>
                        <a:pt x="40" y="210"/>
                      </a:lnTo>
                      <a:close/>
                    </a:path>
                  </a:pathLst>
                </a:custGeom>
                <a:solidFill>
                  <a:srgbClr val="C0C0C0">
                    <a:alpha val="50195"/>
                  </a:srgbClr>
                </a:solidFill>
                <a:ln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145" name="Text Box 71">
                <a:extLst>
                  <a:ext uri="{FF2B5EF4-FFF2-40B4-BE49-F238E27FC236}">
                    <a16:creationId xmlns:a16="http://schemas.microsoft.com/office/drawing/2014/main" id="{829F0320-6CC1-092D-33F3-1963EEBCE9B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308798" y="1978435"/>
                <a:ext cx="1130438" cy="33855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>
                  <a:spcBef>
                    <a:spcPct val="50000"/>
                  </a:spcBef>
                </a:pPr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Centrifuge</a:t>
                </a:r>
              </a:p>
            </p:txBody>
          </p:sp>
          <p:grpSp>
            <p:nvGrpSpPr>
              <p:cNvPr id="146" name="Group 72">
                <a:extLst>
                  <a:ext uri="{FF2B5EF4-FFF2-40B4-BE49-F238E27FC236}">
                    <a16:creationId xmlns:a16="http://schemas.microsoft.com/office/drawing/2014/main" id="{7E342695-62B9-D8D3-8A56-3645644577E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74076" y="1068240"/>
                <a:ext cx="277906" cy="838200"/>
                <a:chOff x="672" y="3559"/>
                <a:chExt cx="377" cy="665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89B735D3-A874-BC8E-1FD4-10D6BF3B554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72" y="3725"/>
                  <a:ext cx="0" cy="457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0" name="Line 74">
                  <a:extLst>
                    <a:ext uri="{FF2B5EF4-FFF2-40B4-BE49-F238E27FC236}">
                      <a16:creationId xmlns:a16="http://schemas.microsoft.com/office/drawing/2014/main" id="{4D1129C8-E86B-553B-38B4-BF5DCB1C0D6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72" y="4182"/>
                  <a:ext cx="377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1" name="Line 75">
                  <a:extLst>
                    <a:ext uri="{FF2B5EF4-FFF2-40B4-BE49-F238E27FC236}">
                      <a16:creationId xmlns:a16="http://schemas.microsoft.com/office/drawing/2014/main" id="{F758B73C-8D8B-FF99-200B-9DA7C198B3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49" y="3725"/>
                  <a:ext cx="0" cy="457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2" name="Oval 76">
                  <a:extLst>
                    <a:ext uri="{FF2B5EF4-FFF2-40B4-BE49-F238E27FC236}">
                      <a16:creationId xmlns:a16="http://schemas.microsoft.com/office/drawing/2014/main" id="{14BF82D8-FB43-27A4-D1B2-64B0BA7F17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" y="3559"/>
                  <a:ext cx="377" cy="333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D9"/>
                    </a:gs>
                    <a:gs pos="100000">
                      <a:srgbClr val="767664"/>
                    </a:gs>
                  </a:gsLst>
                  <a:lin ang="2700000" scaled="1"/>
                </a:gra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3" name="Rectangle 77">
                  <a:extLst>
                    <a:ext uri="{FF2B5EF4-FFF2-40B4-BE49-F238E27FC236}">
                      <a16:creationId xmlns:a16="http://schemas.microsoft.com/office/drawing/2014/main" id="{503784E1-3448-CC30-2306-CD2CBDAE33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" y="3725"/>
                  <a:ext cx="377" cy="457"/>
                </a:xfrm>
                <a:prstGeom prst="rect">
                  <a:avLst/>
                </a:prstGeom>
                <a:gradFill rotWithShape="0">
                  <a:gsLst>
                    <a:gs pos="0">
                      <a:srgbClr val="FFFFD9"/>
                    </a:gs>
                    <a:gs pos="100000">
                      <a:srgbClr val="767664"/>
                    </a:gs>
                  </a:gsLst>
                  <a:lin ang="2700000" scaled="1"/>
                </a:gra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4" name="Rectangle 78">
                  <a:extLst>
                    <a:ext uri="{FF2B5EF4-FFF2-40B4-BE49-F238E27FC236}">
                      <a16:creationId xmlns:a16="http://schemas.microsoft.com/office/drawing/2014/main" id="{5D5D7502-9A11-9952-69CC-71E4A56717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1" y="4141"/>
                  <a:ext cx="47" cy="83"/>
                </a:xfrm>
                <a:prstGeom prst="rect">
                  <a:avLst/>
                </a:prstGeom>
                <a:gradFill rotWithShape="0">
                  <a:gsLst>
                    <a:gs pos="0">
                      <a:srgbClr val="FFFFD9"/>
                    </a:gs>
                    <a:gs pos="100000">
                      <a:srgbClr val="767664"/>
                    </a:gs>
                  </a:gsLst>
                  <a:lin ang="2700000" scaled="1"/>
                </a:gra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5" name="Line 79">
                  <a:extLst>
                    <a:ext uri="{FF2B5EF4-FFF2-40B4-BE49-F238E27FC236}">
                      <a16:creationId xmlns:a16="http://schemas.microsoft.com/office/drawing/2014/main" id="{94D7CF6A-2835-A345-619D-EC7CF56104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72" y="4141"/>
                  <a:ext cx="377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6" name="Line 80">
                  <a:extLst>
                    <a:ext uri="{FF2B5EF4-FFF2-40B4-BE49-F238E27FC236}">
                      <a16:creationId xmlns:a16="http://schemas.microsoft.com/office/drawing/2014/main" id="{0C3A2E5B-41F3-6E29-8FED-F60BEC1639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49" y="3725"/>
                  <a:ext cx="0" cy="457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7" name="Line 81">
                  <a:extLst>
                    <a:ext uri="{FF2B5EF4-FFF2-40B4-BE49-F238E27FC236}">
                      <a16:creationId xmlns:a16="http://schemas.microsoft.com/office/drawing/2014/main" id="{2630A308-7C5A-F01A-7979-C8712E1F8C3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72" y="3725"/>
                  <a:ext cx="0" cy="457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8" name="Rectangle 82">
                  <a:extLst>
                    <a:ext uri="{FF2B5EF4-FFF2-40B4-BE49-F238E27FC236}">
                      <a16:creationId xmlns:a16="http://schemas.microsoft.com/office/drawing/2014/main" id="{8E61FA1C-9DAB-3365-2187-25FB7992F5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1" y="4182"/>
                  <a:ext cx="47" cy="4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FFD9"/>
                    </a:gs>
                    <a:gs pos="100000">
                      <a:srgbClr val="767664"/>
                    </a:gs>
                  </a:gsLst>
                  <a:lin ang="2700000" scaled="1"/>
                </a:gra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9" name="Line 83">
                  <a:extLst>
                    <a:ext uri="{FF2B5EF4-FFF2-40B4-BE49-F238E27FC236}">
                      <a16:creationId xmlns:a16="http://schemas.microsoft.com/office/drawing/2014/main" id="{DDE52060-C11D-11DC-E8A5-BE9D162EB5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72" y="4182"/>
                  <a:ext cx="19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10" name="Line 84">
                  <a:extLst>
                    <a:ext uri="{FF2B5EF4-FFF2-40B4-BE49-F238E27FC236}">
                      <a16:creationId xmlns:a16="http://schemas.microsoft.com/office/drawing/2014/main" id="{1383EA73-A03C-2873-AAD8-590EBFA2D96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38" y="4182"/>
                  <a:ext cx="311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47" name="Group 85">
                <a:extLst>
                  <a:ext uri="{FF2B5EF4-FFF2-40B4-BE49-F238E27FC236}">
                    <a16:creationId xmlns:a16="http://schemas.microsoft.com/office/drawing/2014/main" id="{1A3AF936-3ED1-11F1-B493-7258276271B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927065" y="1144440"/>
                <a:ext cx="942975" cy="685800"/>
                <a:chOff x="4848" y="912"/>
                <a:chExt cx="624" cy="432"/>
              </a:xfrm>
            </p:grpSpPr>
            <p:sp>
              <p:nvSpPr>
                <p:cNvPr id="197" name="Rectangle 86">
                  <a:extLst>
                    <a:ext uri="{FF2B5EF4-FFF2-40B4-BE49-F238E27FC236}">
                      <a16:creationId xmlns:a16="http://schemas.microsoft.com/office/drawing/2014/main" id="{939A2E4F-BCB1-D8A8-9DD3-2B819F8E82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48" y="912"/>
                  <a:ext cx="624" cy="43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FFFF"/>
                    </a:gs>
                    <a:gs pos="100000">
                      <a:srgbClr val="767676"/>
                    </a:gs>
                  </a:gsLst>
                  <a:path path="rect">
                    <a:fillToRect r="100000" b="100000"/>
                  </a:path>
                </a:gra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98" name="Line 87">
                  <a:extLst>
                    <a:ext uri="{FF2B5EF4-FFF2-40B4-BE49-F238E27FC236}">
                      <a16:creationId xmlns:a16="http://schemas.microsoft.com/office/drawing/2014/main" id="{BB0DA2D4-1E66-E20C-084E-9AA16310EB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848" y="912"/>
                  <a:ext cx="624" cy="42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48" name="Group 88">
                <a:extLst>
                  <a:ext uri="{FF2B5EF4-FFF2-40B4-BE49-F238E27FC236}">
                    <a16:creationId xmlns:a16="http://schemas.microsoft.com/office/drawing/2014/main" id="{0B15C037-5ED5-6D5E-A6F7-5621C49D0BB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963455" y="992040"/>
                <a:ext cx="296863" cy="977900"/>
                <a:chOff x="618" y="507"/>
                <a:chExt cx="41" cy="129"/>
              </a:xfrm>
            </p:grpSpPr>
            <p:sp>
              <p:nvSpPr>
                <p:cNvPr id="184" name="Line 89">
                  <a:extLst>
                    <a:ext uri="{FF2B5EF4-FFF2-40B4-BE49-F238E27FC236}">
                      <a16:creationId xmlns:a16="http://schemas.microsoft.com/office/drawing/2014/main" id="{446E8930-DE19-DD60-4339-58238C0BF9EE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618" y="539"/>
                  <a:ext cx="0" cy="89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5" name="Line 90">
                  <a:extLst>
                    <a:ext uri="{FF2B5EF4-FFF2-40B4-BE49-F238E27FC236}">
                      <a16:creationId xmlns:a16="http://schemas.microsoft.com/office/drawing/2014/main" id="{29A91BC5-4C54-4589-C8B3-FAC8FB69D051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618" y="628"/>
                  <a:ext cx="41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6" name="Line 91">
                  <a:extLst>
                    <a:ext uri="{FF2B5EF4-FFF2-40B4-BE49-F238E27FC236}">
                      <a16:creationId xmlns:a16="http://schemas.microsoft.com/office/drawing/2014/main" id="{F36A7522-9CEB-5B93-D262-11B7B251F69B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659" y="539"/>
                  <a:ext cx="0" cy="89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7" name="Oval 92">
                  <a:extLst>
                    <a:ext uri="{FF2B5EF4-FFF2-40B4-BE49-F238E27FC236}">
                      <a16:creationId xmlns:a16="http://schemas.microsoft.com/office/drawing/2014/main" id="{A61A6AA0-CFBD-0C6C-54EC-A1CF79478DA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18" y="507"/>
                  <a:ext cx="41" cy="65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FF"/>
                    </a:gs>
                    <a:gs pos="100000">
                      <a:srgbClr val="767676"/>
                    </a:gs>
                  </a:gsLst>
                  <a:lin ang="0" scaled="1"/>
                </a:gra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8" name="Rectangle 93">
                  <a:extLst>
                    <a:ext uri="{FF2B5EF4-FFF2-40B4-BE49-F238E27FC236}">
                      <a16:creationId xmlns:a16="http://schemas.microsoft.com/office/drawing/2014/main" id="{7ADA1FFF-C16C-986E-37CF-0CC966F500A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18" y="539"/>
                  <a:ext cx="41" cy="89"/>
                </a:xfrm>
                <a:prstGeom prst="rect">
                  <a:avLst/>
                </a:prstGeom>
                <a:gradFill rotWithShape="0">
                  <a:gsLst>
                    <a:gs pos="0">
                      <a:srgbClr val="FFFFFF"/>
                    </a:gs>
                    <a:gs pos="100000">
                      <a:srgbClr val="767676"/>
                    </a:gs>
                  </a:gsLst>
                  <a:path path="rect">
                    <a:fillToRect r="100000" b="100000"/>
                  </a:path>
                </a:gra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9" name="Rectangle 94">
                  <a:extLst>
                    <a:ext uri="{FF2B5EF4-FFF2-40B4-BE49-F238E27FC236}">
                      <a16:creationId xmlns:a16="http://schemas.microsoft.com/office/drawing/2014/main" id="{C553F82D-8CE5-A765-7EA9-7D8372DC38C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20" y="620"/>
                  <a:ext cx="5" cy="16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90" name="Line 95">
                  <a:extLst>
                    <a:ext uri="{FF2B5EF4-FFF2-40B4-BE49-F238E27FC236}">
                      <a16:creationId xmlns:a16="http://schemas.microsoft.com/office/drawing/2014/main" id="{FD874BD6-EE68-1744-53B2-4C3F8C92D136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618" y="620"/>
                  <a:ext cx="41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91" name="Line 96">
                  <a:extLst>
                    <a:ext uri="{FF2B5EF4-FFF2-40B4-BE49-F238E27FC236}">
                      <a16:creationId xmlns:a16="http://schemas.microsoft.com/office/drawing/2014/main" id="{FAD8B9F0-BAFB-A6CC-89D4-1C3C9C007033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659" y="539"/>
                  <a:ext cx="0" cy="89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92" name="Line 97">
                  <a:extLst>
                    <a:ext uri="{FF2B5EF4-FFF2-40B4-BE49-F238E27FC236}">
                      <a16:creationId xmlns:a16="http://schemas.microsoft.com/office/drawing/2014/main" id="{E22F75C5-E624-BF53-7B45-6E897A7F451F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618" y="539"/>
                  <a:ext cx="0" cy="89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93" name="Rectangle 98">
                  <a:extLst>
                    <a:ext uri="{FF2B5EF4-FFF2-40B4-BE49-F238E27FC236}">
                      <a16:creationId xmlns:a16="http://schemas.microsoft.com/office/drawing/2014/main" id="{698D3B1A-A253-1C35-6CC0-FD354E4E35A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39" y="628"/>
                  <a:ext cx="5" cy="8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94" name="Line 99">
                  <a:extLst>
                    <a:ext uri="{FF2B5EF4-FFF2-40B4-BE49-F238E27FC236}">
                      <a16:creationId xmlns:a16="http://schemas.microsoft.com/office/drawing/2014/main" id="{C6C4ACFD-7796-5024-6F3A-42C3C70179F7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618" y="628"/>
                  <a:ext cx="2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95" name="Line 100">
                  <a:extLst>
                    <a:ext uri="{FF2B5EF4-FFF2-40B4-BE49-F238E27FC236}">
                      <a16:creationId xmlns:a16="http://schemas.microsoft.com/office/drawing/2014/main" id="{52148916-5AAD-5C67-1DB8-29FB07A3C6FF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625" y="628"/>
                  <a:ext cx="34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96" name="Rectangle 101" descr="Outlined diamond">
                  <a:extLst>
                    <a:ext uri="{FF2B5EF4-FFF2-40B4-BE49-F238E27FC236}">
                      <a16:creationId xmlns:a16="http://schemas.microsoft.com/office/drawing/2014/main" id="{3701CE34-7EA7-49FF-4E69-F55519D4D56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30" y="538"/>
                  <a:ext cx="16" cy="82"/>
                </a:xfrm>
                <a:prstGeom prst="rect">
                  <a:avLst/>
                </a:prstGeom>
                <a:pattFill prst="openDmnd">
                  <a:fgClr>
                    <a:srgbClr val="000000"/>
                  </a:fgClr>
                  <a:bgClr>
                    <a:srgbClr val="FFFFFF"/>
                  </a:bgClr>
                </a:patt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49" name="Group 102">
                <a:extLst>
                  <a:ext uri="{FF2B5EF4-FFF2-40B4-BE49-F238E27FC236}">
                    <a16:creationId xmlns:a16="http://schemas.microsoft.com/office/drawing/2014/main" id="{D58B2645-C51A-F72E-30A0-A9B08D69AFD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16950" y="1141265"/>
                <a:ext cx="1028531" cy="688975"/>
                <a:chOff x="1962" y="910"/>
                <a:chExt cx="672" cy="434"/>
              </a:xfrm>
            </p:grpSpPr>
            <p:sp>
              <p:nvSpPr>
                <p:cNvPr id="181" name="Rectangle 103">
                  <a:extLst>
                    <a:ext uri="{FF2B5EF4-FFF2-40B4-BE49-F238E27FC236}">
                      <a16:creationId xmlns:a16="http://schemas.microsoft.com/office/drawing/2014/main" id="{B4635572-1592-CF25-58E3-A6BECF8CE7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085" y="912"/>
                  <a:ext cx="419" cy="43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A2A2"/>
                    </a:gs>
                    <a:gs pos="100000">
                      <a:srgbClr val="FF0000"/>
                    </a:gs>
                  </a:gsLst>
                  <a:lin ang="2700000" scaled="1"/>
                </a:gradFill>
                <a:ln w="190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2" name="Line 104">
                  <a:extLst>
                    <a:ext uri="{FF2B5EF4-FFF2-40B4-BE49-F238E27FC236}">
                      <a16:creationId xmlns:a16="http://schemas.microsoft.com/office/drawing/2014/main" id="{966C071C-6D47-EC2B-D948-40A581D1E8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962" y="1338"/>
                  <a:ext cx="672" cy="6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3" name="Line 105">
                  <a:extLst>
                    <a:ext uri="{FF2B5EF4-FFF2-40B4-BE49-F238E27FC236}">
                      <a16:creationId xmlns:a16="http://schemas.microsoft.com/office/drawing/2014/main" id="{A2CF571F-2B4B-AAD3-8C47-B41EE727FA3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962" y="910"/>
                  <a:ext cx="672" cy="2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50" name="Group 106">
                <a:extLst>
                  <a:ext uri="{FF2B5EF4-FFF2-40B4-BE49-F238E27FC236}">
                    <a16:creationId xmlns:a16="http://schemas.microsoft.com/office/drawing/2014/main" id="{F4960C7E-3322-1B5B-EC90-73CF16F0F9D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436421" y="1144440"/>
                <a:ext cx="1046163" cy="685800"/>
                <a:chOff x="3053" y="912"/>
                <a:chExt cx="691" cy="432"/>
              </a:xfrm>
            </p:grpSpPr>
            <p:sp>
              <p:nvSpPr>
                <p:cNvPr id="178" name="Rectangle 107">
                  <a:extLst>
                    <a:ext uri="{FF2B5EF4-FFF2-40B4-BE49-F238E27FC236}">
                      <a16:creationId xmlns:a16="http://schemas.microsoft.com/office/drawing/2014/main" id="{42499234-FAB3-979F-736E-C36181435F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67" y="912"/>
                  <a:ext cx="461" cy="432"/>
                </a:xfrm>
                <a:prstGeom prst="rect">
                  <a:avLst/>
                </a:prstGeom>
                <a:gradFill rotWithShape="0">
                  <a:gsLst>
                    <a:gs pos="0">
                      <a:srgbClr val="C3C3FF"/>
                    </a:gs>
                    <a:gs pos="100000">
                      <a:srgbClr val="5B5BFF"/>
                    </a:gs>
                  </a:gsLst>
                  <a:lin ang="2700000" scaled="1"/>
                </a:gradFill>
                <a:ln w="190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79" name="Line 108">
                  <a:extLst>
                    <a:ext uri="{FF2B5EF4-FFF2-40B4-BE49-F238E27FC236}">
                      <a16:creationId xmlns:a16="http://schemas.microsoft.com/office/drawing/2014/main" id="{94D4F7AE-A12F-0ADF-ED63-A80E974247B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053" y="1344"/>
                  <a:ext cx="691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0" name="Line 109">
                  <a:extLst>
                    <a:ext uri="{FF2B5EF4-FFF2-40B4-BE49-F238E27FC236}">
                      <a16:creationId xmlns:a16="http://schemas.microsoft.com/office/drawing/2014/main" id="{C683D0AB-B203-8F88-AE93-4A48A74A15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053" y="912"/>
                  <a:ext cx="691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151" name="Text Box 110">
                <a:extLst>
                  <a:ext uri="{FF2B5EF4-FFF2-40B4-BE49-F238E27FC236}">
                    <a16:creationId xmlns:a16="http://schemas.microsoft.com/office/drawing/2014/main" id="{EE5E4E33-246D-A863-57CA-39EFCD07C5A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408420" y="1993753"/>
                <a:ext cx="1253869" cy="33855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Clarification</a:t>
                </a:r>
              </a:p>
            </p:txBody>
          </p:sp>
          <p:sp>
            <p:nvSpPr>
              <p:cNvPr id="152" name="Text Box 111">
                <a:extLst>
                  <a:ext uri="{FF2B5EF4-FFF2-40B4-BE49-F238E27FC236}">
                    <a16:creationId xmlns:a16="http://schemas.microsoft.com/office/drawing/2014/main" id="{6F702112-0595-C03D-DDAB-4880913E74F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872784" y="1981421"/>
                <a:ext cx="956609" cy="33855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Protein A</a:t>
                </a:r>
              </a:p>
            </p:txBody>
          </p:sp>
          <p:sp>
            <p:nvSpPr>
              <p:cNvPr id="153" name="Text Box 112">
                <a:extLst>
                  <a:ext uri="{FF2B5EF4-FFF2-40B4-BE49-F238E27FC236}">
                    <a16:creationId xmlns:a16="http://schemas.microsoft.com/office/drawing/2014/main" id="{E2E38997-4FF6-F7A6-5BDC-777AED4E874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70731" y="1993753"/>
                <a:ext cx="753732" cy="33855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TMAE</a:t>
                </a:r>
              </a:p>
            </p:txBody>
          </p:sp>
          <p:sp>
            <p:nvSpPr>
              <p:cNvPr id="154" name="Text Box 113">
                <a:extLst>
                  <a:ext uri="{FF2B5EF4-FFF2-40B4-BE49-F238E27FC236}">
                    <a16:creationId xmlns:a16="http://schemas.microsoft.com/office/drawing/2014/main" id="{846F7170-B8DC-C1C5-D409-223AA5B631A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556309" y="1993753"/>
                <a:ext cx="1106393" cy="33855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600" err="1">
                    <a:solidFill>
                      <a:srgbClr val="000000"/>
                    </a:solidFill>
                    <a:latin typeface="Calibri" panose="020F0502020204030204"/>
                  </a:rPr>
                  <a:t>Vpro</a:t>
                </a:r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 </a:t>
                </a:r>
                <a:r>
                  <a:rPr lang="en-US" sz="1600" err="1">
                    <a:solidFill>
                      <a:srgbClr val="000000"/>
                    </a:solidFill>
                    <a:latin typeface="Calibri" panose="020F0502020204030204"/>
                  </a:rPr>
                  <a:t>VRF</a:t>
                </a:r>
                <a:endParaRPr lang="en-US" sz="16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55" name="Text Box 114">
                <a:extLst>
                  <a:ext uri="{FF2B5EF4-FFF2-40B4-BE49-F238E27FC236}">
                    <a16:creationId xmlns:a16="http://schemas.microsoft.com/office/drawing/2014/main" id="{5DCEEFBA-F265-BE0C-C91A-B81CE13F9B3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968342" y="1993753"/>
                <a:ext cx="787395" cy="33855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600" err="1">
                    <a:solidFill>
                      <a:srgbClr val="000000"/>
                    </a:solidFill>
                    <a:latin typeface="Calibri" panose="020F0502020204030204"/>
                  </a:rPr>
                  <a:t>UF</a:t>
                </a:r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/DF</a:t>
                </a:r>
              </a:p>
            </p:txBody>
          </p:sp>
          <p:sp>
            <p:nvSpPr>
              <p:cNvPr id="156" name="Line 116">
                <a:extLst>
                  <a:ext uri="{FF2B5EF4-FFF2-40B4-BE49-F238E27FC236}">
                    <a16:creationId xmlns:a16="http://schemas.microsoft.com/office/drawing/2014/main" id="{4809D215-FC45-FB0E-BF40-C68F11C909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30260" y="1525440"/>
                <a:ext cx="457200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en-US" sz="16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7" name="Line 117">
                <a:extLst>
                  <a:ext uri="{FF2B5EF4-FFF2-40B4-BE49-F238E27FC236}">
                    <a16:creationId xmlns:a16="http://schemas.microsoft.com/office/drawing/2014/main" id="{C36509EC-01C1-ED98-648C-276CECEA6E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52595" y="1525440"/>
                <a:ext cx="539750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en-US" sz="16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8" name="Line 118">
                <a:extLst>
                  <a:ext uri="{FF2B5EF4-FFF2-40B4-BE49-F238E27FC236}">
                    <a16:creationId xmlns:a16="http://schemas.microsoft.com/office/drawing/2014/main" id="{DBE26AA5-EBCA-1FEF-1B85-F12617C64B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80998" y="1525440"/>
                <a:ext cx="361950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en-US" sz="16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9" name="Line 119">
                <a:extLst>
                  <a:ext uri="{FF2B5EF4-FFF2-40B4-BE49-F238E27FC236}">
                    <a16:creationId xmlns:a16="http://schemas.microsoft.com/office/drawing/2014/main" id="{DE11C35F-B941-AA66-7F94-66D52D9D39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471598" y="1525440"/>
                <a:ext cx="363537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en-US" sz="16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grpSp>
            <p:nvGrpSpPr>
              <p:cNvPr id="160" name="Group 72">
                <a:extLst>
                  <a:ext uri="{FF2B5EF4-FFF2-40B4-BE49-F238E27FC236}">
                    <a16:creationId xmlns:a16="http://schemas.microsoft.com/office/drawing/2014/main" id="{D49B6155-395D-F836-DF7C-45DE23FF9C8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77510" y="1068240"/>
                <a:ext cx="278406" cy="838200"/>
                <a:chOff x="672" y="3559"/>
                <a:chExt cx="377" cy="665"/>
              </a:xfrm>
            </p:grpSpPr>
            <p:sp>
              <p:nvSpPr>
                <p:cNvPr id="166" name="Line 73">
                  <a:extLst>
                    <a:ext uri="{FF2B5EF4-FFF2-40B4-BE49-F238E27FC236}">
                      <a16:creationId xmlns:a16="http://schemas.microsoft.com/office/drawing/2014/main" id="{6C67F163-C134-D7AA-554C-13CFCC28CAD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72" y="3725"/>
                  <a:ext cx="0" cy="457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67" name="Line 74">
                  <a:extLst>
                    <a:ext uri="{FF2B5EF4-FFF2-40B4-BE49-F238E27FC236}">
                      <a16:creationId xmlns:a16="http://schemas.microsoft.com/office/drawing/2014/main" id="{55B2412C-61FD-E89D-0D16-E4C4F0779D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72" y="4182"/>
                  <a:ext cx="377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68" name="Line 75">
                  <a:extLst>
                    <a:ext uri="{FF2B5EF4-FFF2-40B4-BE49-F238E27FC236}">
                      <a16:creationId xmlns:a16="http://schemas.microsoft.com/office/drawing/2014/main" id="{1847E15D-2B4D-9DF8-73B0-3F347912FA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49" y="3725"/>
                  <a:ext cx="0" cy="457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69" name="Oval 76">
                  <a:extLst>
                    <a:ext uri="{FF2B5EF4-FFF2-40B4-BE49-F238E27FC236}">
                      <a16:creationId xmlns:a16="http://schemas.microsoft.com/office/drawing/2014/main" id="{14BF4F55-BCA9-EA5B-B222-529628098D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" y="3559"/>
                  <a:ext cx="377" cy="333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D9"/>
                    </a:gs>
                    <a:gs pos="100000">
                      <a:srgbClr val="767664"/>
                    </a:gs>
                  </a:gsLst>
                  <a:lin ang="2700000" scaled="1"/>
                </a:gra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70" name="Rectangle 77">
                  <a:extLst>
                    <a:ext uri="{FF2B5EF4-FFF2-40B4-BE49-F238E27FC236}">
                      <a16:creationId xmlns:a16="http://schemas.microsoft.com/office/drawing/2014/main" id="{DFB366B5-7E62-3D60-AA42-4A5A8F5EC9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" y="3725"/>
                  <a:ext cx="377" cy="457"/>
                </a:xfrm>
                <a:prstGeom prst="rect">
                  <a:avLst/>
                </a:prstGeom>
                <a:gradFill rotWithShape="0">
                  <a:gsLst>
                    <a:gs pos="0">
                      <a:srgbClr val="FFFFD9"/>
                    </a:gs>
                    <a:gs pos="100000">
                      <a:srgbClr val="767664"/>
                    </a:gs>
                  </a:gsLst>
                  <a:lin ang="2700000" scaled="1"/>
                </a:gra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71" name="Rectangle 78">
                  <a:extLst>
                    <a:ext uri="{FF2B5EF4-FFF2-40B4-BE49-F238E27FC236}">
                      <a16:creationId xmlns:a16="http://schemas.microsoft.com/office/drawing/2014/main" id="{347F9160-2C98-51BB-6567-DE6FC4D200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1" y="4141"/>
                  <a:ext cx="47" cy="83"/>
                </a:xfrm>
                <a:prstGeom prst="rect">
                  <a:avLst/>
                </a:prstGeom>
                <a:gradFill rotWithShape="0">
                  <a:gsLst>
                    <a:gs pos="0">
                      <a:srgbClr val="FFFFD9"/>
                    </a:gs>
                    <a:gs pos="100000">
                      <a:srgbClr val="767664"/>
                    </a:gs>
                  </a:gsLst>
                  <a:lin ang="2700000" scaled="1"/>
                </a:gra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72" name="Line 79">
                  <a:extLst>
                    <a:ext uri="{FF2B5EF4-FFF2-40B4-BE49-F238E27FC236}">
                      <a16:creationId xmlns:a16="http://schemas.microsoft.com/office/drawing/2014/main" id="{B7556DE2-FBAC-163A-76BA-362891C7DA8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72" y="4141"/>
                  <a:ext cx="377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73" name="Line 80">
                  <a:extLst>
                    <a:ext uri="{FF2B5EF4-FFF2-40B4-BE49-F238E27FC236}">
                      <a16:creationId xmlns:a16="http://schemas.microsoft.com/office/drawing/2014/main" id="{F3121EEC-9B61-4F85-0AF1-D45EF9A4977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49" y="3725"/>
                  <a:ext cx="0" cy="457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74" name="Line 81">
                  <a:extLst>
                    <a:ext uri="{FF2B5EF4-FFF2-40B4-BE49-F238E27FC236}">
                      <a16:creationId xmlns:a16="http://schemas.microsoft.com/office/drawing/2014/main" id="{549E3A66-5135-A650-807A-CBA44667ABB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72" y="3725"/>
                  <a:ext cx="0" cy="457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75" name="Rectangle 82">
                  <a:extLst>
                    <a:ext uri="{FF2B5EF4-FFF2-40B4-BE49-F238E27FC236}">
                      <a16:creationId xmlns:a16="http://schemas.microsoft.com/office/drawing/2014/main" id="{0AEAF77F-7C6F-A82F-5C9D-E6EF168408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1" y="4182"/>
                  <a:ext cx="47" cy="4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FFD9"/>
                    </a:gs>
                    <a:gs pos="100000">
                      <a:srgbClr val="767664"/>
                    </a:gs>
                  </a:gsLst>
                  <a:lin ang="2700000" scaled="1"/>
                </a:gra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76" name="Line 83">
                  <a:extLst>
                    <a:ext uri="{FF2B5EF4-FFF2-40B4-BE49-F238E27FC236}">
                      <a16:creationId xmlns:a16="http://schemas.microsoft.com/office/drawing/2014/main" id="{1856BD7B-7B3F-AA94-A1EA-5EB7BE21DCA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72" y="4182"/>
                  <a:ext cx="19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77" name="Line 84">
                  <a:extLst>
                    <a:ext uri="{FF2B5EF4-FFF2-40B4-BE49-F238E27FC236}">
                      <a16:creationId xmlns:a16="http://schemas.microsoft.com/office/drawing/2014/main" id="{2ECE05F3-AB0E-18E8-828F-282704359F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38" y="4182"/>
                  <a:ext cx="311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60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161" name="Text Box 111">
                <a:extLst>
                  <a:ext uri="{FF2B5EF4-FFF2-40B4-BE49-F238E27FC236}">
                    <a16:creationId xmlns:a16="http://schemas.microsoft.com/office/drawing/2014/main" id="{79F7A067-6931-9B61-2F30-3516E1C47C0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95505" y="1978435"/>
                <a:ext cx="970137" cy="33855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Filtration</a:t>
                </a:r>
              </a:p>
            </p:txBody>
          </p:sp>
          <p:sp>
            <p:nvSpPr>
              <p:cNvPr id="162" name="Line 116">
                <a:extLst>
                  <a:ext uri="{FF2B5EF4-FFF2-40B4-BE49-F238E27FC236}">
                    <a16:creationId xmlns:a16="http://schemas.microsoft.com/office/drawing/2014/main" id="{7088F5CA-8406-8088-AEAF-6F14ADD4EC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06037" y="1525439"/>
                <a:ext cx="284360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en-US" sz="16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3" name="Line 116">
                <a:extLst>
                  <a:ext uri="{FF2B5EF4-FFF2-40B4-BE49-F238E27FC236}">
                    <a16:creationId xmlns:a16="http://schemas.microsoft.com/office/drawing/2014/main" id="{95387A08-E99B-6381-85EB-8FADD8BDE3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25920" y="1504218"/>
                <a:ext cx="394914" cy="5349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en-US" sz="16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88191825-FE57-3704-1C95-6FD01A83C750}"/>
                  </a:ext>
                </a:extLst>
              </p:cNvPr>
              <p:cNvSpPr/>
              <p:nvPr/>
            </p:nvSpPr>
            <p:spPr>
              <a:xfrm>
                <a:off x="4626376" y="1179079"/>
                <a:ext cx="1051069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sz="1600" i="1">
                    <a:solidFill>
                      <a:srgbClr val="FF0000"/>
                    </a:solidFill>
                    <a:latin typeface="Calibri" panose="020F0502020204030204"/>
                  </a:rPr>
                  <a:t>Low pH VI</a:t>
                </a: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D227453F-FC52-31A7-5C7E-322FE8D99F1E}"/>
                  </a:ext>
                </a:extLst>
              </p:cNvPr>
              <p:cNvSpPr/>
              <p:nvPr/>
            </p:nvSpPr>
            <p:spPr>
              <a:xfrm>
                <a:off x="4640171" y="1495547"/>
                <a:ext cx="1178528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600" i="1" dirty="0">
                    <a:solidFill>
                      <a:srgbClr val="FF0000"/>
                    </a:solidFill>
                    <a:latin typeface="Calibri" panose="020F0502020204030204"/>
                  </a:rPr>
                  <a:t>pH adj </a:t>
                </a:r>
                <a:r>
                  <a:rPr lang="en-US" sz="1600" i="1" dirty="0" err="1">
                    <a:solidFill>
                      <a:srgbClr val="FF0000"/>
                    </a:solidFill>
                    <a:latin typeface="Calibri" panose="020F0502020204030204"/>
                  </a:rPr>
                  <a:t>Neut</a:t>
                </a:r>
                <a:endParaRPr lang="en-US" sz="1600" i="1" dirty="0">
                  <a:solidFill>
                    <a:srgbClr val="FF0000"/>
                  </a:solidFill>
                  <a:latin typeface="Calibri" panose="020F0502020204030204"/>
                </a:endParaRPr>
              </a:p>
            </p:txBody>
          </p:sp>
        </p:grpSp>
        <p:cxnSp>
          <p:nvCxnSpPr>
            <p:cNvPr id="460" name="Straight Arrow Connector 459">
              <a:extLst>
                <a:ext uri="{FF2B5EF4-FFF2-40B4-BE49-F238E27FC236}">
                  <a16:creationId xmlns:a16="http://schemas.microsoft.com/office/drawing/2014/main" id="{C361C1C6-6672-A416-BDDA-DC5BEC2EE759}"/>
                </a:ext>
              </a:extLst>
            </p:cNvPr>
            <p:cNvCxnSpPr>
              <a:cxnSpLocks/>
            </p:cNvCxnSpPr>
            <p:nvPr/>
          </p:nvCxnSpPr>
          <p:spPr>
            <a:xfrm>
              <a:off x="1238163" y="4734136"/>
              <a:ext cx="362753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305AD2FA-5AD9-6119-EEA0-C22E4033FE6D}"/>
                </a:ext>
              </a:extLst>
            </p:cNvPr>
            <p:cNvSpPr/>
            <p:nvPr/>
          </p:nvSpPr>
          <p:spPr>
            <a:xfrm>
              <a:off x="441805" y="3823717"/>
              <a:ext cx="1904502" cy="376356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i="0" dirty="0">
                  <a:solidFill>
                    <a:schemeClr val="bg1"/>
                  </a:solidFill>
                  <a:effectLst/>
                  <a:latin typeface="Roboto" panose="02000000000000000000" pitchFamily="2" charset="0"/>
                </a:rPr>
                <a:t>Purification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F5DC901-BF50-528A-BA91-F50990DED683}"/>
              </a:ext>
            </a:extLst>
          </p:cNvPr>
          <p:cNvGrpSpPr/>
          <p:nvPr/>
        </p:nvGrpSpPr>
        <p:grpSpPr>
          <a:xfrm>
            <a:off x="438549" y="1160399"/>
            <a:ext cx="11232234" cy="2483403"/>
            <a:chOff x="431198" y="1176470"/>
            <a:chExt cx="11232234" cy="2483403"/>
          </a:xfrm>
        </p:grpSpPr>
        <p:sp>
          <p:nvSpPr>
            <p:cNvPr id="279" name="Rectangle: Rounded Corners 278">
              <a:extLst>
                <a:ext uri="{FF2B5EF4-FFF2-40B4-BE49-F238E27FC236}">
                  <a16:creationId xmlns:a16="http://schemas.microsoft.com/office/drawing/2014/main" id="{C47899B5-65B4-668B-35C0-77C47E984C6D}"/>
                </a:ext>
              </a:extLst>
            </p:cNvPr>
            <p:cNvSpPr/>
            <p:nvPr/>
          </p:nvSpPr>
          <p:spPr bwMode="gray">
            <a:xfrm>
              <a:off x="431198" y="1329425"/>
              <a:ext cx="11050858" cy="23304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en-US" b="1">
                <a:solidFill>
                  <a:schemeClr val="accent1"/>
                </a:solidFill>
                <a:latin typeface="+mj-lt"/>
              </a:endParaRPr>
            </a:p>
          </p:txBody>
        </p:sp>
        <p:pic>
          <p:nvPicPr>
            <p:cNvPr id="285" name="Picture 284">
              <a:extLst>
                <a:ext uri="{FF2B5EF4-FFF2-40B4-BE49-F238E27FC236}">
                  <a16:creationId xmlns:a16="http://schemas.microsoft.com/office/drawing/2014/main" id="{ADCFA474-F4F3-8A35-0DF7-3953181B347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71" r="17618"/>
            <a:stretch/>
          </p:blipFill>
          <p:spPr bwMode="auto">
            <a:xfrm>
              <a:off x="1364452" y="2532444"/>
              <a:ext cx="472928" cy="459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87" name="Group 286">
              <a:extLst>
                <a:ext uri="{FF2B5EF4-FFF2-40B4-BE49-F238E27FC236}">
                  <a16:creationId xmlns:a16="http://schemas.microsoft.com/office/drawing/2014/main" id="{2097D80E-998D-C684-89BB-6095DC7B09EF}"/>
                </a:ext>
              </a:extLst>
            </p:cNvPr>
            <p:cNvGrpSpPr/>
            <p:nvPr/>
          </p:nvGrpSpPr>
          <p:grpSpPr>
            <a:xfrm>
              <a:off x="1038154" y="1329425"/>
              <a:ext cx="10287590" cy="2298092"/>
              <a:chOff x="293048" y="1615305"/>
              <a:chExt cx="11379933" cy="2937248"/>
            </a:xfrm>
          </p:grpSpPr>
          <p:pic>
            <p:nvPicPr>
              <p:cNvPr id="289" name="Picture 288">
                <a:extLst>
                  <a:ext uri="{FF2B5EF4-FFF2-40B4-BE49-F238E27FC236}">
                    <a16:creationId xmlns:a16="http://schemas.microsoft.com/office/drawing/2014/main" id="{A0A238FA-75CF-2834-AB1D-498FA09812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t="18789"/>
              <a:stretch/>
            </p:blipFill>
            <p:spPr>
              <a:xfrm>
                <a:off x="4727428" y="2465626"/>
                <a:ext cx="701277" cy="452689"/>
              </a:xfrm>
              <a:prstGeom prst="rect">
                <a:avLst/>
              </a:prstGeom>
            </p:spPr>
          </p:pic>
          <p:pic>
            <p:nvPicPr>
              <p:cNvPr id="290" name="Picture 289">
                <a:extLst>
                  <a:ext uri="{FF2B5EF4-FFF2-40B4-BE49-F238E27FC236}">
                    <a16:creationId xmlns:a16="http://schemas.microsoft.com/office/drawing/2014/main" id="{7518C3B9-95BF-1335-6417-F1A2AFFF9A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0000" b="90000" l="10000" r="90000">
                            <a14:foregroundMark x1="43678" y1="37589" x2="43678" y2="37589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06200" y="3317092"/>
                <a:ext cx="195880" cy="317462"/>
              </a:xfrm>
              <a:prstGeom prst="rect">
                <a:avLst/>
              </a:prstGeom>
            </p:spPr>
          </p:pic>
          <p:pic>
            <p:nvPicPr>
              <p:cNvPr id="291" name="Picture 3">
                <a:extLst>
                  <a:ext uri="{FF2B5EF4-FFF2-40B4-BE49-F238E27FC236}">
                    <a16:creationId xmlns:a16="http://schemas.microsoft.com/office/drawing/2014/main" id="{EF576947-1296-C33E-83AB-2D76D377B39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/>
              <a:srcRect l="75531" t="25216" r="1553" b="5715"/>
              <a:stretch/>
            </p:blipFill>
            <p:spPr bwMode="auto">
              <a:xfrm>
                <a:off x="9707911" y="2232427"/>
                <a:ext cx="1965070" cy="2320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93" name="TextBox 292">
                <a:extLst>
                  <a:ext uri="{FF2B5EF4-FFF2-40B4-BE49-F238E27FC236}">
                    <a16:creationId xmlns:a16="http://schemas.microsoft.com/office/drawing/2014/main" id="{1B190C7B-7492-658D-9B9A-2271713F4775}"/>
                  </a:ext>
                </a:extLst>
              </p:cNvPr>
              <p:cNvSpPr txBox="1"/>
              <p:nvPr/>
            </p:nvSpPr>
            <p:spPr>
              <a:xfrm>
                <a:off x="293048" y="2193935"/>
                <a:ext cx="1092101" cy="4327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eaLnBrk="0" hangingPunct="0"/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Vial Thaw</a:t>
                </a:r>
              </a:p>
            </p:txBody>
          </p:sp>
          <p:sp>
            <p:nvSpPr>
              <p:cNvPr id="294" name="TextBox 293">
                <a:extLst>
                  <a:ext uri="{FF2B5EF4-FFF2-40B4-BE49-F238E27FC236}">
                    <a16:creationId xmlns:a16="http://schemas.microsoft.com/office/drawing/2014/main" id="{B0B8F1BA-19C1-B592-8758-AAB2001057A3}"/>
                  </a:ext>
                </a:extLst>
              </p:cNvPr>
              <p:cNvSpPr txBox="1"/>
              <p:nvPr/>
            </p:nvSpPr>
            <p:spPr>
              <a:xfrm>
                <a:off x="1991125" y="1615305"/>
                <a:ext cx="3144038" cy="4327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eaLnBrk="0" hangingPunct="0"/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Shake &amp; Culture Bag Expansion</a:t>
                </a:r>
              </a:p>
            </p:txBody>
          </p:sp>
          <p:sp>
            <p:nvSpPr>
              <p:cNvPr id="295" name="TextBox 294">
                <a:extLst>
                  <a:ext uri="{FF2B5EF4-FFF2-40B4-BE49-F238E27FC236}">
                    <a16:creationId xmlns:a16="http://schemas.microsoft.com/office/drawing/2014/main" id="{032BC1BE-4EF1-FBFD-3508-8A0979682A9D}"/>
                  </a:ext>
                </a:extLst>
              </p:cNvPr>
              <p:cNvSpPr txBox="1"/>
              <p:nvPr/>
            </p:nvSpPr>
            <p:spPr>
              <a:xfrm>
                <a:off x="5816235" y="2650577"/>
                <a:ext cx="1609788" cy="4327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eaLnBrk="0" hangingPunct="0"/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Bioreactor</a:t>
                </a:r>
              </a:p>
            </p:txBody>
          </p:sp>
          <p:sp>
            <p:nvSpPr>
              <p:cNvPr id="296" name="TextBox 295">
                <a:extLst>
                  <a:ext uri="{FF2B5EF4-FFF2-40B4-BE49-F238E27FC236}">
                    <a16:creationId xmlns:a16="http://schemas.microsoft.com/office/drawing/2014/main" id="{718A3275-4E75-A358-B188-50A246FDEE54}"/>
                  </a:ext>
                </a:extLst>
              </p:cNvPr>
              <p:cNvSpPr txBox="1"/>
              <p:nvPr/>
            </p:nvSpPr>
            <p:spPr>
              <a:xfrm>
                <a:off x="9757791" y="1662877"/>
                <a:ext cx="1626009" cy="747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eaLnBrk="0" hangingPunct="0"/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Production</a:t>
                </a:r>
                <a:b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Bioreactor</a:t>
                </a:r>
              </a:p>
            </p:txBody>
          </p:sp>
          <p:pic>
            <p:nvPicPr>
              <p:cNvPr id="298" name="Picture 3">
                <a:extLst>
                  <a:ext uri="{FF2B5EF4-FFF2-40B4-BE49-F238E27FC236}">
                    <a16:creationId xmlns:a16="http://schemas.microsoft.com/office/drawing/2014/main" id="{038AD54C-7D21-F883-D82A-3FF9122A470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/>
              <a:srcRect l="75531" t="25216" r="1553" b="5715"/>
              <a:stretch/>
            </p:blipFill>
            <p:spPr bwMode="auto">
              <a:xfrm>
                <a:off x="7826877" y="2904790"/>
                <a:ext cx="1085960" cy="12821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99" name="TextBox 298">
                <a:extLst>
                  <a:ext uri="{FF2B5EF4-FFF2-40B4-BE49-F238E27FC236}">
                    <a16:creationId xmlns:a16="http://schemas.microsoft.com/office/drawing/2014/main" id="{FADA9E40-C589-5F9E-FE37-4FA55E5C2575}"/>
                  </a:ext>
                </a:extLst>
              </p:cNvPr>
              <p:cNvSpPr txBox="1"/>
              <p:nvPr/>
            </p:nvSpPr>
            <p:spPr>
              <a:xfrm>
                <a:off x="7426023" y="2550095"/>
                <a:ext cx="1750049" cy="4327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eaLnBrk="0" hangingPunct="0"/>
                <a:r>
                  <a:rPr lang="en-US" sz="1600">
                    <a:solidFill>
                      <a:srgbClr val="000000"/>
                    </a:solidFill>
                    <a:latin typeface="Calibri" panose="020F0502020204030204"/>
                  </a:rPr>
                  <a:t>Bioreactor</a:t>
                </a:r>
              </a:p>
            </p:txBody>
          </p:sp>
          <p:pic>
            <p:nvPicPr>
              <p:cNvPr id="300" name="Picture 3">
                <a:extLst>
                  <a:ext uri="{FF2B5EF4-FFF2-40B4-BE49-F238E27FC236}">
                    <a16:creationId xmlns:a16="http://schemas.microsoft.com/office/drawing/2014/main" id="{E30DD47F-0A90-AAB6-114E-6E0F72BD1D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/>
              <a:srcRect l="75531" t="25216" r="1553" b="5715"/>
              <a:stretch/>
            </p:blipFill>
            <p:spPr bwMode="auto">
              <a:xfrm>
                <a:off x="6250846" y="3106617"/>
                <a:ext cx="815830" cy="9632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1" name="Picture 300">
                <a:extLst>
                  <a:ext uri="{FF2B5EF4-FFF2-40B4-BE49-F238E27FC236}">
                    <a16:creationId xmlns:a16="http://schemas.microsoft.com/office/drawing/2014/main" id="{03738A3A-087B-DFDA-C1A7-55CF4F9C7E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27428" y="3391974"/>
                <a:ext cx="701277" cy="557425"/>
              </a:xfrm>
              <a:prstGeom prst="rect">
                <a:avLst/>
              </a:prstGeom>
            </p:spPr>
          </p:pic>
          <p:pic>
            <p:nvPicPr>
              <p:cNvPr id="302" name="Picture 301">
                <a:extLst>
                  <a:ext uri="{FF2B5EF4-FFF2-40B4-BE49-F238E27FC236}">
                    <a16:creationId xmlns:a16="http://schemas.microsoft.com/office/drawing/2014/main" id="{51E25CD3-A29A-FE0B-0E07-82820AB613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27428" y="2854841"/>
                <a:ext cx="701277" cy="557425"/>
              </a:xfrm>
              <a:prstGeom prst="rect">
                <a:avLst/>
              </a:prstGeom>
            </p:spPr>
          </p:pic>
          <p:pic>
            <p:nvPicPr>
              <p:cNvPr id="303" name="Picture 302">
                <a:extLst>
                  <a:ext uri="{FF2B5EF4-FFF2-40B4-BE49-F238E27FC236}">
                    <a16:creationId xmlns:a16="http://schemas.microsoft.com/office/drawing/2014/main" id="{0078FE27-42BD-AC5B-BD1C-B911AE5A6C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27428" y="3917662"/>
                <a:ext cx="701277" cy="557425"/>
              </a:xfrm>
              <a:prstGeom prst="rect">
                <a:avLst/>
              </a:prstGeom>
            </p:spPr>
          </p:pic>
          <p:grpSp>
            <p:nvGrpSpPr>
              <p:cNvPr id="304" name="Group 303">
                <a:extLst>
                  <a:ext uri="{FF2B5EF4-FFF2-40B4-BE49-F238E27FC236}">
                    <a16:creationId xmlns:a16="http://schemas.microsoft.com/office/drawing/2014/main" id="{3E623AB7-5D90-30AD-0EEC-5D629E691450}"/>
                  </a:ext>
                </a:extLst>
              </p:cNvPr>
              <p:cNvGrpSpPr/>
              <p:nvPr/>
            </p:nvGrpSpPr>
            <p:grpSpPr>
              <a:xfrm>
                <a:off x="3230380" y="2884502"/>
                <a:ext cx="701277" cy="1113921"/>
                <a:chOff x="3230380" y="2884502"/>
                <a:chExt cx="701277" cy="1113921"/>
              </a:xfrm>
            </p:grpSpPr>
            <p:pic>
              <p:nvPicPr>
                <p:cNvPr id="310" name="Picture 309">
                  <a:extLst>
                    <a:ext uri="{FF2B5EF4-FFF2-40B4-BE49-F238E27FC236}">
                      <a16:creationId xmlns:a16="http://schemas.microsoft.com/office/drawing/2014/main" id="{2D0D7A84-A7DA-D1CD-9643-66EE0763AD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3230380" y="2884502"/>
                  <a:ext cx="701277" cy="557425"/>
                </a:xfrm>
                <a:prstGeom prst="rect">
                  <a:avLst/>
                </a:prstGeom>
              </p:spPr>
            </p:pic>
            <p:pic>
              <p:nvPicPr>
                <p:cNvPr id="311" name="Picture 310">
                  <a:extLst>
                    <a:ext uri="{FF2B5EF4-FFF2-40B4-BE49-F238E27FC236}">
                      <a16:creationId xmlns:a16="http://schemas.microsoft.com/office/drawing/2014/main" id="{7C7AA9F9-53FF-E07A-B5A4-091B8701F3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3230380" y="3440998"/>
                  <a:ext cx="701277" cy="557425"/>
                </a:xfrm>
                <a:prstGeom prst="rect">
                  <a:avLst/>
                </a:prstGeom>
              </p:spPr>
            </p:pic>
          </p:grpSp>
        </p:grpSp>
        <p:pic>
          <p:nvPicPr>
            <p:cNvPr id="281" name="Picture 280">
              <a:extLst>
                <a:ext uri="{FF2B5EF4-FFF2-40B4-BE49-F238E27FC236}">
                  <a16:creationId xmlns:a16="http://schemas.microsoft.com/office/drawing/2014/main" id="{80E1E562-61D5-29C1-EE74-D95F0C9BF11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71" r="17618"/>
            <a:stretch/>
          </p:blipFill>
          <p:spPr bwMode="auto">
            <a:xfrm>
              <a:off x="2449908" y="2295532"/>
              <a:ext cx="472928" cy="459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2" name="Picture 281">
              <a:extLst>
                <a:ext uri="{FF2B5EF4-FFF2-40B4-BE49-F238E27FC236}">
                  <a16:creationId xmlns:a16="http://schemas.microsoft.com/office/drawing/2014/main" id="{97E737F3-EFDE-CB74-9ED9-83F5F2DC60B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71" r="17618"/>
            <a:stretch/>
          </p:blipFill>
          <p:spPr bwMode="auto">
            <a:xfrm>
              <a:off x="2453147" y="2810366"/>
              <a:ext cx="472928" cy="459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13" name="Straight Arrow Connector 312">
              <a:extLst>
                <a:ext uri="{FF2B5EF4-FFF2-40B4-BE49-F238E27FC236}">
                  <a16:creationId xmlns:a16="http://schemas.microsoft.com/office/drawing/2014/main" id="{0B6FBA12-B7C3-9C9C-B521-AB3047C98622}"/>
                </a:ext>
              </a:extLst>
            </p:cNvPr>
            <p:cNvCxnSpPr>
              <a:cxnSpLocks/>
            </p:cNvCxnSpPr>
            <p:nvPr/>
          </p:nvCxnSpPr>
          <p:spPr>
            <a:xfrm>
              <a:off x="1933332" y="2768623"/>
              <a:ext cx="362753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14" name="Straight Arrow Connector 313">
              <a:extLst>
                <a:ext uri="{FF2B5EF4-FFF2-40B4-BE49-F238E27FC236}">
                  <a16:creationId xmlns:a16="http://schemas.microsoft.com/office/drawing/2014/main" id="{CB33B44A-9822-4308-EF91-21E1D83E3832}"/>
                </a:ext>
              </a:extLst>
            </p:cNvPr>
            <p:cNvCxnSpPr>
              <a:cxnSpLocks/>
            </p:cNvCxnSpPr>
            <p:nvPr/>
          </p:nvCxnSpPr>
          <p:spPr>
            <a:xfrm>
              <a:off x="3035487" y="2768623"/>
              <a:ext cx="362753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15" name="Straight Arrow Connector 314">
              <a:extLst>
                <a:ext uri="{FF2B5EF4-FFF2-40B4-BE49-F238E27FC236}">
                  <a16:creationId xmlns:a16="http://schemas.microsoft.com/office/drawing/2014/main" id="{04FA38D3-648A-95B8-9F8D-FE4DFDBF6174}"/>
                </a:ext>
              </a:extLst>
            </p:cNvPr>
            <p:cNvCxnSpPr>
              <a:cxnSpLocks/>
            </p:cNvCxnSpPr>
            <p:nvPr/>
          </p:nvCxnSpPr>
          <p:spPr>
            <a:xfrm>
              <a:off x="4469035" y="2735361"/>
              <a:ext cx="362753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16" name="Straight Arrow Connector 315">
              <a:extLst>
                <a:ext uri="{FF2B5EF4-FFF2-40B4-BE49-F238E27FC236}">
                  <a16:creationId xmlns:a16="http://schemas.microsoft.com/office/drawing/2014/main" id="{7328AA09-2193-4B5A-7C27-011C5F08F572}"/>
                </a:ext>
              </a:extLst>
            </p:cNvPr>
            <p:cNvCxnSpPr>
              <a:cxnSpLocks/>
            </p:cNvCxnSpPr>
            <p:nvPr/>
          </p:nvCxnSpPr>
          <p:spPr>
            <a:xfrm>
              <a:off x="5896176" y="2874725"/>
              <a:ext cx="362753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17" name="Straight Arrow Connector 316">
              <a:extLst>
                <a:ext uri="{FF2B5EF4-FFF2-40B4-BE49-F238E27FC236}">
                  <a16:creationId xmlns:a16="http://schemas.microsoft.com/office/drawing/2014/main" id="{DD7C9DC5-0B2C-C7EB-B4BA-A2A6EAAF26BE}"/>
                </a:ext>
              </a:extLst>
            </p:cNvPr>
            <p:cNvCxnSpPr>
              <a:cxnSpLocks/>
            </p:cNvCxnSpPr>
            <p:nvPr/>
          </p:nvCxnSpPr>
          <p:spPr>
            <a:xfrm>
              <a:off x="7268024" y="2873039"/>
              <a:ext cx="362753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18" name="Straight Arrow Connector 317">
              <a:extLst>
                <a:ext uri="{FF2B5EF4-FFF2-40B4-BE49-F238E27FC236}">
                  <a16:creationId xmlns:a16="http://schemas.microsoft.com/office/drawing/2014/main" id="{BD11EBB5-142D-517E-596A-280A29E83A0A}"/>
                </a:ext>
              </a:extLst>
            </p:cNvPr>
            <p:cNvCxnSpPr>
              <a:cxnSpLocks/>
            </p:cNvCxnSpPr>
            <p:nvPr/>
          </p:nvCxnSpPr>
          <p:spPr>
            <a:xfrm>
              <a:off x="8926083" y="2867668"/>
              <a:ext cx="362753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459" name="Straight Arrow Connector 458">
              <a:extLst>
                <a:ext uri="{FF2B5EF4-FFF2-40B4-BE49-F238E27FC236}">
                  <a16:creationId xmlns:a16="http://schemas.microsoft.com/office/drawing/2014/main" id="{D5B295CF-A28B-2860-7AEE-6F12F7434BDD}"/>
                </a:ext>
              </a:extLst>
            </p:cNvPr>
            <p:cNvCxnSpPr>
              <a:cxnSpLocks/>
            </p:cNvCxnSpPr>
            <p:nvPr/>
          </p:nvCxnSpPr>
          <p:spPr>
            <a:xfrm>
              <a:off x="11300679" y="2849261"/>
              <a:ext cx="362753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28577F6-DD39-7484-F406-93804E54F036}"/>
                </a:ext>
              </a:extLst>
            </p:cNvPr>
            <p:cNvSpPr/>
            <p:nvPr/>
          </p:nvSpPr>
          <p:spPr>
            <a:xfrm>
              <a:off x="431198" y="1176470"/>
              <a:ext cx="1904502" cy="383550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i="0" dirty="0">
                  <a:solidFill>
                    <a:schemeClr val="bg1"/>
                  </a:solidFill>
                  <a:effectLst/>
                  <a:latin typeface="Roboto" panose="02000000000000000000" pitchFamily="2" charset="0"/>
                </a:rPr>
                <a:t>Cell culture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33966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00B875-4F36-8D9B-3DB3-34B4A5C3D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33E0B-E560-8C7C-6AC0-98D4BC80C9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2133600"/>
            <a:ext cx="11201400" cy="359434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>
                <a:solidFill>
                  <a:schemeClr val="tx1"/>
                </a:solidFill>
              </a:rPr>
              <a:t>Building an </a:t>
            </a:r>
            <a:r>
              <a:rPr lang="en-US" sz="2000">
                <a:solidFill>
                  <a:schemeClr val="tx1"/>
                </a:solidFill>
              </a:rPr>
              <a:t>experimental</a:t>
            </a:r>
            <a:r>
              <a:rPr lang="en-US">
                <a:solidFill>
                  <a:schemeClr val="tx1"/>
                </a:solidFill>
              </a:rPr>
              <a:t> DoE database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>
                <a:solidFill>
                  <a:schemeClr val="tx1"/>
                </a:solidFill>
              </a:rPr>
              <a:t>Combining Studies for Any Process Step: Challenge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>
                <a:solidFill>
                  <a:schemeClr val="tx1"/>
                </a:solidFill>
              </a:rPr>
              <a:t>Prepare Database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>
                <a:solidFill>
                  <a:schemeClr val="tx1"/>
                </a:solidFill>
              </a:rPr>
              <a:t>Dashboard: Data to Knowledge</a:t>
            </a:r>
          </a:p>
          <a:p>
            <a:pPr marL="457200" indent="-457200">
              <a:buFont typeface="+mj-lt"/>
              <a:buAutoNum type="arabicPeriod"/>
            </a:pPr>
            <a:r>
              <a:rPr lang="en-US"/>
              <a:t>Using the Database to Inform OMARS Design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/>
              <a:t>DoE Request</a:t>
            </a:r>
          </a:p>
          <a:p>
            <a:pPr marL="914400" lvl="1" indent="-457200">
              <a:buFont typeface="Pfizer Tomorrow"/>
              <a:buAutoNum type="arabicPeriod"/>
            </a:pPr>
            <a:r>
              <a:rPr lang="en-US"/>
              <a:t>Leverage database to inform design choices</a:t>
            </a:r>
          </a:p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13A822-825C-66C3-3B4F-0CAE6819AE7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17C4FE8-5D31-9559-DB05-E537A0A7A9E4}"/>
              </a:ext>
            </a:extLst>
          </p:cNvPr>
          <p:cNvSpPr/>
          <p:nvPr/>
        </p:nvSpPr>
        <p:spPr>
          <a:xfrm>
            <a:off x="2939846" y="1257300"/>
            <a:ext cx="6510184" cy="6096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</a:rPr>
              <a:t>Objective: turning historical datasets into knowledge</a:t>
            </a:r>
          </a:p>
        </p:txBody>
      </p:sp>
    </p:spTree>
    <p:extLst>
      <p:ext uri="{BB962C8B-B14F-4D97-AF65-F5344CB8AC3E}">
        <p14:creationId xmlns:p14="http://schemas.microsoft.com/office/powerpoint/2010/main" val="1707480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99058A-F2FD-5D44-1C86-BCF3F49033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F230B-39CA-FE9F-02CC-49A77117EB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Building a Historical Databas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ACD9AA-7693-19E1-CAB7-F62402C87C2D}"/>
              </a:ext>
            </a:extLst>
          </p:cNvPr>
          <p:cNvSpPr txBox="1">
            <a:spLocks/>
          </p:cNvSpPr>
          <p:nvPr/>
        </p:nvSpPr>
        <p:spPr>
          <a:xfrm>
            <a:off x="495299" y="3368442"/>
            <a:ext cx="10182225" cy="165576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22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Pfizer Diatype Office" panose="020B0504040202060203" pitchFamily="34" charset="0"/>
              <a:buChar char="–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Pfizer Diatype Office" panose="020B0504040202060203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0" lvl="1" indent="-457200">
              <a:buFont typeface="+mj-lt"/>
              <a:buAutoNum type="arabicPeriod"/>
            </a:pPr>
            <a:r>
              <a:rPr lang="en-US">
                <a:solidFill>
                  <a:schemeClr val="bg1"/>
                </a:solidFill>
              </a:rPr>
              <a:t>Combining Studies for Any Process Step: Challenge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>
                <a:solidFill>
                  <a:schemeClr val="bg1"/>
                </a:solidFill>
              </a:rPr>
              <a:t>Prepare Database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>
                <a:solidFill>
                  <a:schemeClr val="bg1"/>
                </a:solidFill>
              </a:rPr>
              <a:t>Dashboard: Data to Knowledge</a:t>
            </a:r>
          </a:p>
        </p:txBody>
      </p:sp>
    </p:spTree>
    <p:extLst>
      <p:ext uri="{BB962C8B-B14F-4D97-AF65-F5344CB8AC3E}">
        <p14:creationId xmlns:p14="http://schemas.microsoft.com/office/powerpoint/2010/main" val="16409338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A84F6E-5056-FF62-72B1-F6056702A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B691B9-6F26-3A25-6726-5649926B0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Combining Studies for Any Process Step: Challenge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11B0220-7531-75BD-D2D0-A79C65E9C6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1400851"/>
              </p:ext>
            </p:extLst>
          </p:nvPr>
        </p:nvGraphicFramePr>
        <p:xfrm>
          <a:off x="654909" y="1198605"/>
          <a:ext cx="11401168" cy="5131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28523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78F1C73-528E-D881-D238-9792C623428A}"/>
              </a:ext>
            </a:extLst>
          </p:cNvPr>
          <p:cNvSpPr/>
          <p:nvPr/>
        </p:nvSpPr>
        <p:spPr>
          <a:xfrm>
            <a:off x="3619152" y="1482612"/>
            <a:ext cx="8077198" cy="1713874"/>
          </a:xfrm>
          <a:prstGeom prst="roundRect">
            <a:avLst>
              <a:gd name="adj" fmla="val 9765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A set of tables including</a:t>
            </a:r>
            <a:br>
              <a:rPr lang="en-US" dirty="0"/>
            </a:br>
            <a:r>
              <a:rPr lang="en-US" dirty="0"/>
              <a:t>data, factor information, </a:t>
            </a:r>
            <a:br>
              <a:rPr lang="en-US" dirty="0"/>
            </a:br>
            <a:r>
              <a:rPr lang="en-US" dirty="0"/>
              <a:t>and selected model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B09C61-C593-BFC7-F90D-D175EFFDA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pare Database and Dashboard in Dataiku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E9F5423-B5E2-6821-CBAE-63A6957B1FED}"/>
              </a:ext>
            </a:extLst>
          </p:cNvPr>
          <p:cNvSpPr/>
          <p:nvPr/>
        </p:nvSpPr>
        <p:spPr>
          <a:xfrm>
            <a:off x="317538" y="1814870"/>
            <a:ext cx="3183874" cy="104935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One study:</a:t>
            </a:r>
            <a:br>
              <a:rPr lang="en-US" sz="2400" b="1" dirty="0"/>
            </a:br>
            <a:r>
              <a:rPr lang="en-US" sz="2400" b="1" dirty="0"/>
              <a:t>Format the fi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BBC5-2193-ACD0-BB41-F5AEB6069A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3652" y="1867875"/>
            <a:ext cx="4816200" cy="1224129"/>
          </a:xfrm>
          <a:prstGeom prst="rect">
            <a:avLst/>
          </a:prstGeom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9DA040AC-532D-E6DB-0862-74AAB941CAA6}"/>
              </a:ext>
            </a:extLst>
          </p:cNvPr>
          <p:cNvSpPr/>
          <p:nvPr/>
        </p:nvSpPr>
        <p:spPr bwMode="gray">
          <a:xfrm rot="5400000">
            <a:off x="1611226" y="2996394"/>
            <a:ext cx="596498" cy="787718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US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4B1EC28-4730-23D0-45DD-3660B973A2A8}"/>
              </a:ext>
            </a:extLst>
          </p:cNvPr>
          <p:cNvSpPr/>
          <p:nvPr/>
        </p:nvSpPr>
        <p:spPr>
          <a:xfrm>
            <a:off x="317538" y="3873103"/>
            <a:ext cx="3183874" cy="82260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2400" b="1" dirty="0"/>
              <a:t>Compile studies</a:t>
            </a:r>
            <a:br>
              <a:rPr lang="en-US" sz="2400" b="1" dirty="0"/>
            </a:br>
            <a:r>
              <a:rPr lang="en-US" sz="2400" b="1" dirty="0"/>
              <a:t>in Dataiku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813C2B6-B2AC-8E0D-F01C-256048AEB7E1}"/>
              </a:ext>
            </a:extLst>
          </p:cNvPr>
          <p:cNvSpPr/>
          <p:nvPr/>
        </p:nvSpPr>
        <p:spPr>
          <a:xfrm>
            <a:off x="3619152" y="3477267"/>
            <a:ext cx="8077198" cy="1842828"/>
          </a:xfrm>
          <a:prstGeom prst="roundRect">
            <a:avLst>
              <a:gd name="adj" fmla="val 18300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tup KEYS for process parameters and attributes (with scientists) and add into each stud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ke unit consistency: (e.g. mL or 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bility to extract: coefficients, effect size, standard error, R-squared,…etc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961EC0E-E089-E987-E3B0-EED8A2CAB0D6}"/>
              </a:ext>
            </a:extLst>
          </p:cNvPr>
          <p:cNvSpPr txBox="1"/>
          <p:nvPr/>
        </p:nvSpPr>
        <p:spPr>
          <a:xfrm>
            <a:off x="7216048" y="1537905"/>
            <a:ext cx="38708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Example of record selected model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16CF725-3F41-D018-5B70-F3DB2AFDE39B}"/>
              </a:ext>
            </a:extLst>
          </p:cNvPr>
          <p:cNvSpPr/>
          <p:nvPr/>
        </p:nvSpPr>
        <p:spPr>
          <a:xfrm>
            <a:off x="317538" y="5561007"/>
            <a:ext cx="3183874" cy="62685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2400" b="1" dirty="0"/>
              <a:t>Dashboard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35A5CAAC-0B73-7824-D623-DF4412A43422}"/>
              </a:ext>
            </a:extLst>
          </p:cNvPr>
          <p:cNvSpPr/>
          <p:nvPr/>
        </p:nvSpPr>
        <p:spPr bwMode="gray">
          <a:xfrm rot="5400000">
            <a:off x="1611226" y="4743755"/>
            <a:ext cx="596498" cy="787718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US" b="1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56788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0261BC4-2420-598A-F514-1B4F1DAE8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/>
              <a:t>Dashboard: Data to Knowledge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AF94C9-DC97-7B80-7EE5-08BCD9AC51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78498" y="1609561"/>
            <a:ext cx="5318202" cy="4090974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</a:pPr>
            <a:r>
              <a:rPr lang="en-US" dirty="0"/>
              <a:t>Studied ranges for all factors.</a:t>
            </a:r>
          </a:p>
          <a:p>
            <a:pPr marL="285750" indent="-285750">
              <a:lnSpc>
                <a:spcPct val="110000"/>
              </a:lnSpc>
            </a:pPr>
            <a:r>
              <a:rPr lang="en-US" dirty="0"/>
              <a:t>Data range for all attributes.</a:t>
            </a:r>
          </a:p>
          <a:p>
            <a:pPr marL="285750" indent="-285750">
              <a:lnSpc>
                <a:spcPct val="110000"/>
              </a:lnSpc>
            </a:pPr>
            <a:r>
              <a:rPr lang="en-US" dirty="0"/>
              <a:t>Frequency about factors and attributes are studied.</a:t>
            </a:r>
          </a:p>
          <a:p>
            <a:pPr marL="285750" indent="-285750">
              <a:lnSpc>
                <a:spcPct val="110000"/>
              </a:lnSpc>
            </a:pPr>
            <a:r>
              <a:rPr lang="en-US" dirty="0"/>
              <a:t>Relative frequency of statistical significance</a:t>
            </a:r>
          </a:p>
          <a:p>
            <a:pPr marL="742950" lvl="3" indent="-285750">
              <a:lnSpc>
                <a:spcPct val="110000"/>
              </a:lnSpc>
            </a:pPr>
            <a:r>
              <a:rPr lang="en-US" sz="2000" dirty="0"/>
              <a:t>Main effects</a:t>
            </a:r>
          </a:p>
          <a:p>
            <a:pPr marL="742950" lvl="3" indent="-285750">
              <a:lnSpc>
                <a:spcPct val="110000"/>
              </a:lnSpc>
            </a:pPr>
            <a:r>
              <a:rPr lang="en-US" sz="2000" dirty="0"/>
              <a:t>Second order effects (Interaction, Quadratic)</a:t>
            </a:r>
          </a:p>
          <a:p>
            <a:pPr marL="285750" indent="-285750">
              <a:lnSpc>
                <a:spcPct val="110000"/>
              </a:lnSpc>
            </a:pPr>
            <a:r>
              <a:rPr lang="en-US" dirty="0"/>
              <a:t>Effect size (factors vs attributes)</a:t>
            </a:r>
          </a:p>
          <a:p>
            <a:pPr marL="285750" indent="-285750">
              <a:lnSpc>
                <a:spcPct val="110000"/>
              </a:lnSpc>
            </a:pPr>
            <a:r>
              <a:rPr lang="en-US" dirty="0"/>
              <a:t>Co-significant effects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4C7505-3130-CB4E-C82D-FCDA5A3E38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0550" y="1616927"/>
            <a:ext cx="5410200" cy="4420316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pPr marL="0" indent="0">
              <a:buNone/>
            </a:pPr>
            <a:r>
              <a:rPr lang="en-US" dirty="0"/>
              <a:t>Design: </a:t>
            </a:r>
          </a:p>
          <a:p>
            <a:r>
              <a:rPr lang="en-US" dirty="0"/>
              <a:t>Which factors were studied?</a:t>
            </a:r>
          </a:p>
          <a:p>
            <a:r>
              <a:rPr lang="en-US" dirty="0"/>
              <a:t>What were the factor ranges?</a:t>
            </a:r>
          </a:p>
          <a:p>
            <a:r>
              <a:rPr lang="en-US" dirty="0"/>
              <a:t>Which factors are most important? (effect size, frequency of significance)</a:t>
            </a:r>
          </a:p>
          <a:p>
            <a:r>
              <a:rPr lang="en-US" dirty="0"/>
              <a:t>Do we expect to see any interaction or quadratic effects?</a:t>
            </a:r>
          </a:p>
          <a:p>
            <a:pPr marL="0" indent="0">
              <a:buNone/>
            </a:pPr>
            <a:r>
              <a:rPr lang="en-US" dirty="0"/>
              <a:t>Modeling:</a:t>
            </a:r>
          </a:p>
          <a:p>
            <a:pPr>
              <a:lnSpc>
                <a:spcPct val="110000"/>
              </a:lnSpc>
            </a:pPr>
            <a:r>
              <a:rPr lang="en-US" dirty="0"/>
              <a:t>Is the data range typical for the attributes?</a:t>
            </a:r>
          </a:p>
          <a:p>
            <a:r>
              <a:rPr lang="en-US" dirty="0"/>
              <a:t>Have we seen this effect in other studies?</a:t>
            </a:r>
          </a:p>
          <a:p>
            <a:endParaRPr lang="en-US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7EB7C15-86AF-92A2-7C2A-AEE10E74E208}"/>
              </a:ext>
            </a:extLst>
          </p:cNvPr>
          <p:cNvSpPr/>
          <p:nvPr/>
        </p:nvSpPr>
        <p:spPr>
          <a:xfrm>
            <a:off x="588642" y="1108305"/>
            <a:ext cx="5412108" cy="38355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AQ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8463F43-0F1A-401B-FA89-C6A78DFB5E0A}"/>
              </a:ext>
            </a:extLst>
          </p:cNvPr>
          <p:cNvSpPr/>
          <p:nvPr/>
        </p:nvSpPr>
        <p:spPr>
          <a:xfrm>
            <a:off x="6378497" y="1108305"/>
            <a:ext cx="5327166" cy="38355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bg1"/>
                </a:solidFill>
                <a:latin typeface="Roboto" panose="02000000000000000000" pitchFamily="2" charset="0"/>
              </a:rPr>
              <a:t>What the database can answer</a:t>
            </a:r>
          </a:p>
        </p:txBody>
      </p:sp>
    </p:spTree>
    <p:extLst>
      <p:ext uri="{BB962C8B-B14F-4D97-AF65-F5344CB8AC3E}">
        <p14:creationId xmlns:p14="http://schemas.microsoft.com/office/powerpoint/2010/main" val="10034757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885BD-4D27-6154-D247-CE8945249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/>
              <a:t>Dashboard: Data to Knowledge</a:t>
            </a:r>
            <a:endParaRPr lang="en-US"/>
          </a:p>
        </p:txBody>
      </p:sp>
      <p:pic>
        <p:nvPicPr>
          <p:cNvPr id="15" name="Content Placeholder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4A10422-D0E8-B1ED-1399-8920F56D638A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7850404" y="2410490"/>
            <a:ext cx="3080934" cy="2264037"/>
          </a:xfr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2582D8F-07EC-E897-4338-867AFE147813}"/>
              </a:ext>
            </a:extLst>
          </p:cNvPr>
          <p:cNvSpPr txBox="1"/>
          <p:nvPr/>
        </p:nvSpPr>
        <p:spPr>
          <a:xfrm>
            <a:off x="1071118" y="5705881"/>
            <a:ext cx="4551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ne attribute in one study has one model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18ECEF9-6338-6682-859F-7F5819EC1E4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5740"/>
          <a:stretch/>
        </p:blipFill>
        <p:spPr>
          <a:xfrm>
            <a:off x="1038716" y="2410490"/>
            <a:ext cx="6619024" cy="3122014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1FCAE69-51B2-F051-C101-478728756C75}"/>
              </a:ext>
            </a:extLst>
          </p:cNvPr>
          <p:cNvSpPr/>
          <p:nvPr/>
        </p:nvSpPr>
        <p:spPr>
          <a:xfrm>
            <a:off x="1074190" y="1613647"/>
            <a:ext cx="9913978" cy="4974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b="1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UI to selected studies, factors, attributes</a:t>
            </a:r>
          </a:p>
        </p:txBody>
      </p:sp>
    </p:spTree>
    <p:extLst>
      <p:ext uri="{BB962C8B-B14F-4D97-AF65-F5344CB8AC3E}">
        <p14:creationId xmlns:p14="http://schemas.microsoft.com/office/powerpoint/2010/main" val="37406050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65879F-E0CC-9B2A-552F-4EA142FD4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/>
              <a:t>Dashboard: Data to Knowledge</a:t>
            </a:r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BAC54F1-C7C8-B639-609D-267C02A08D0F}"/>
              </a:ext>
            </a:extLst>
          </p:cNvPr>
          <p:cNvGrpSpPr/>
          <p:nvPr/>
        </p:nvGrpSpPr>
        <p:grpSpPr>
          <a:xfrm>
            <a:off x="495300" y="1096470"/>
            <a:ext cx="5365216" cy="2484179"/>
            <a:chOff x="495300" y="1096470"/>
            <a:chExt cx="5365216" cy="2484179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ADAA2B0-405E-B834-AE30-3064ABFDC7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63754" y="1727174"/>
              <a:ext cx="4216382" cy="1853475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0443F76-F8C3-2FEF-BE86-6789684AD5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b="34180"/>
            <a:stretch/>
          </p:blipFill>
          <p:spPr>
            <a:xfrm>
              <a:off x="495300" y="1732779"/>
              <a:ext cx="946198" cy="1217739"/>
            </a:xfrm>
            <a:prstGeom prst="rect">
              <a:avLst/>
            </a:prstGeom>
          </p:spPr>
        </p:pic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F7055CC-AFCA-759A-E341-FC3D447C3804}"/>
                </a:ext>
              </a:extLst>
            </p:cNvPr>
            <p:cNvSpPr/>
            <p:nvPr/>
          </p:nvSpPr>
          <p:spPr>
            <a:xfrm>
              <a:off x="495300" y="1096470"/>
              <a:ext cx="5365216" cy="383550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>
                  <a:solidFill>
                    <a:schemeClr val="bg1"/>
                  </a:solidFill>
                  <a:latin typeface="Roboto" panose="02000000000000000000" pitchFamily="2" charset="0"/>
                </a:rPr>
                <a:t>Study range for a factor cross studie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DBB8531-BDF0-9E08-89B2-050D36455FEE}"/>
              </a:ext>
            </a:extLst>
          </p:cNvPr>
          <p:cNvGrpSpPr/>
          <p:nvPr/>
        </p:nvGrpSpPr>
        <p:grpSpPr>
          <a:xfrm>
            <a:off x="6123751" y="1096470"/>
            <a:ext cx="5365216" cy="2952230"/>
            <a:chOff x="6123751" y="1096470"/>
            <a:chExt cx="5365216" cy="295223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C782A9C-3B78-833D-A6AF-D7B4152C28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t="4726" b="2"/>
            <a:stretch/>
          </p:blipFill>
          <p:spPr>
            <a:xfrm>
              <a:off x="6450122" y="1660314"/>
              <a:ext cx="4868506" cy="1872645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3A2B807-8B70-7FA0-E409-873B4D052E3B}"/>
                </a:ext>
              </a:extLst>
            </p:cNvPr>
            <p:cNvSpPr txBox="1"/>
            <p:nvPr/>
          </p:nvSpPr>
          <p:spPr>
            <a:xfrm>
              <a:off x="6445887" y="3525480"/>
              <a:ext cx="486193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Aptos" panose="020B0004020202020204" pitchFamily="34" charset="0"/>
                </a:rPr>
                <a:t>This visualization is available for # of studies, # of significance, or effect size.</a:t>
              </a:r>
              <a:endParaRPr lang="en-US" sz="1400" dirty="0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051D5442-B266-E95E-1D81-E6DFB18ACF85}"/>
                </a:ext>
              </a:extLst>
            </p:cNvPr>
            <p:cNvSpPr/>
            <p:nvPr/>
          </p:nvSpPr>
          <p:spPr>
            <a:xfrm>
              <a:off x="6123751" y="1096470"/>
              <a:ext cx="5365216" cy="383550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>
                  <a:solidFill>
                    <a:schemeClr val="bg1"/>
                  </a:solidFill>
                  <a:latin typeface="Roboto" panose="02000000000000000000" pitchFamily="2" charset="0"/>
                </a:rPr>
                <a:t>Impact of factors for attributes</a:t>
              </a:r>
            </a:p>
          </p:txBody>
        </p:sp>
      </p:grp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FB26649-8935-4430-4F62-3C35F4353FF1}"/>
              </a:ext>
            </a:extLst>
          </p:cNvPr>
          <p:cNvSpPr/>
          <p:nvPr/>
        </p:nvSpPr>
        <p:spPr>
          <a:xfrm>
            <a:off x="495299" y="3907483"/>
            <a:ext cx="5365215" cy="38355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bg1"/>
                </a:solidFill>
                <a:latin typeface="Roboto" panose="02000000000000000000" pitchFamily="2" charset="0"/>
              </a:rPr>
              <a:t>For second order effects (SOE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EE7CAB9-39A3-D14C-D207-53EDF51FBA2B}"/>
              </a:ext>
            </a:extLst>
          </p:cNvPr>
          <p:cNvGrpSpPr/>
          <p:nvPr/>
        </p:nvGrpSpPr>
        <p:grpSpPr>
          <a:xfrm>
            <a:off x="2404547" y="4295601"/>
            <a:ext cx="6945929" cy="2323802"/>
            <a:chOff x="2404547" y="4295601"/>
            <a:chExt cx="6945929" cy="232380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E2C77B5-6A20-BAF6-06F9-BDD1384D1BED}"/>
                </a:ext>
              </a:extLst>
            </p:cNvPr>
            <p:cNvSpPr txBox="1"/>
            <p:nvPr/>
          </p:nvSpPr>
          <p:spPr>
            <a:xfrm>
              <a:off x="4152114" y="4295601"/>
              <a:ext cx="35961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co-significant with other SOE effects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F3F2223-3729-5FCF-87A3-F31569BAF7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48293" y="6094160"/>
              <a:ext cx="1602183" cy="259814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5D3BFBA-1B36-3EB1-A1A7-A11A49703A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404547" y="4558179"/>
              <a:ext cx="5343746" cy="20612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3982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fizer PRD Template 2024">
  <a:themeElements>
    <a:clrScheme name="2024 Colors">
      <a:dk1>
        <a:srgbClr val="000000"/>
      </a:dk1>
      <a:lt1>
        <a:srgbClr val="FFFFFF"/>
      </a:lt1>
      <a:dk2>
        <a:srgbClr val="F3A600"/>
      </a:dk2>
      <a:lt2>
        <a:srgbClr val="000067"/>
      </a:lt2>
      <a:accent1>
        <a:srgbClr val="0000C9"/>
      </a:accent1>
      <a:accent2>
        <a:srgbClr val="0095FF"/>
      </a:accent2>
      <a:accent3>
        <a:srgbClr val="00B7A5"/>
      </a:accent3>
      <a:accent4>
        <a:srgbClr val="12B000"/>
      </a:accent4>
      <a:accent5>
        <a:srgbClr val="9369FF"/>
      </a:accent5>
      <a:accent6>
        <a:srgbClr val="FF3241"/>
      </a:accent6>
      <a:hlink>
        <a:srgbClr val="0095FF"/>
      </a:hlink>
      <a:folHlink>
        <a:srgbClr val="999999"/>
      </a:folHlink>
    </a:clrScheme>
    <a:fontScheme name="Custom 1">
      <a:majorFont>
        <a:latin typeface="Pfizer Tomorrow"/>
        <a:ea typeface=""/>
        <a:cs typeface=""/>
      </a:majorFont>
      <a:minorFont>
        <a:latin typeface="Pfizer Diatype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CED4056-96E5-4C13-AAC1-C212581BB4C9}" vid="{42E5CE2C-47A4-4DCE-ABB1-1888AFC4CB4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a5287c9-9ec0-44e9-aea8-3b79883fcb13">
      <Terms xmlns="http://schemas.microsoft.com/office/infopath/2007/PartnerControls"/>
    </lcf76f155ced4ddcb4097134ff3c332f>
    <TaxCatchAll xmlns="104c36f9-307a-4932-9b8b-d33a36d6bb58" xsi:nil="true"/>
    <DSS xmlns="aa5287c9-9ec0-44e9-aea8-3b79883fcb13">
      <Url xsi:nil="true"/>
      <Description xsi:nil="true"/>
    </DSS>
    <Note xmlns="aa5287c9-9ec0-44e9-aea8-3b79883fcb13">For NCB</Note>
    <Task xmlns="aa5287c9-9ec0-44e9-aea8-3b79883fcb13" xsi:nil="true"/>
    <Topic xmlns="aa5287c9-9ec0-44e9-aea8-3b79883fcb13" xsi:nil="true"/>
    <AnalysisType xmlns="aa5287c9-9ec0-44e9-aea8-3b79883fcb13" xsi:nil="true"/>
    <PFID xmlns="aa5287c9-9ec0-44e9-aea8-3b79883fcb13" xsi:nil="true"/>
    <YearUpdate xmlns="aa5287c9-9ec0-44e9-aea8-3b79883fcb13">2024</YearUpdate>
    <DSS_PFID xmlns="aa5287c9-9ec0-44e9-aea8-3b79883fcb13" xsi:nil="true"/>
    <OldName xmlns="aa5287c9-9ec0-44e9-aea8-3b79883fcb13" xsi:nil="true"/>
    <TaskFolder xmlns="aa5287c9-9ec0-44e9-aea8-3b79883fcb13" xsi:nil="true"/>
    <GDMS xmlns="aa5287c9-9ec0-44e9-aea8-3b79883fcb13" xsi:nil="true"/>
    <Source xmlns="aa5287c9-9ec0-44e9-aea8-3b79883fcb13" xsi:nil="true"/>
    <Scientists xmlns="aa5287c9-9ec0-44e9-aea8-3b79883fcb13" xsi:nil="true"/>
    <PF xmlns="aa5287c9-9ec0-44e9-aea8-3b79883fcb13" xsi:nil="true"/>
    <_dlc_DocId xmlns="104c36f9-307a-4932-9b8b-d33a36d6bb58">4ET7AHR3YV7F-108376901-6065</_dlc_DocId>
    <_dlc_DocIdUrl xmlns="104c36f9-307a-4932-9b8b-d33a36d6bb58">
      <Url>https://pfizer.sharepoint.com/sites/StatDataikuBox/_layouts/15/DocIdRedir.aspx?ID=4ET7AHR3YV7F-108376901-6065</Url>
      <Description>4ET7AHR3YV7F-108376901-606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C5FF1648B173449A08C877F8DF1B8C" ma:contentTypeVersion="35" ma:contentTypeDescription="Create a new document." ma:contentTypeScope="" ma:versionID="5dc8d8728fec21e54cf3a0dffefbd278">
  <xsd:schema xmlns:xsd="http://www.w3.org/2001/XMLSchema" xmlns:xs="http://www.w3.org/2001/XMLSchema" xmlns:p="http://schemas.microsoft.com/office/2006/metadata/properties" xmlns:ns2="aa5287c9-9ec0-44e9-aea8-3b79883fcb13" xmlns:ns3="104c36f9-307a-4932-9b8b-d33a36d6bb58" targetNamespace="http://schemas.microsoft.com/office/2006/metadata/properties" ma:root="true" ma:fieldsID="f4a0643146304c3895df59c78dc3e64c" ns2:_="" ns3:_="">
    <xsd:import namespace="aa5287c9-9ec0-44e9-aea8-3b79883fcb13"/>
    <xsd:import namespace="104c36f9-307a-4932-9b8b-d33a36d6bb5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PFID" minOccurs="0"/>
                <xsd:element ref="ns2:Task" minOccurs="0"/>
                <xsd:element ref="ns2:Topic" minOccurs="0"/>
                <xsd:element ref="ns2:Note" minOccurs="0"/>
                <xsd:element ref="ns2:OldName" minOccurs="0"/>
                <xsd:element ref="ns2:Source" minOccurs="0"/>
                <xsd:element ref="ns2:GDMS" minOccurs="0"/>
                <xsd:element ref="ns2:DSS" minOccurs="0"/>
                <xsd:element ref="ns2:DSS_PFID" minOccurs="0"/>
                <xsd:element ref="ns2:DSS_PFNAME_x003a__x0020_PF_ID" minOccurs="0"/>
                <xsd:element ref="ns2:DSS_PFNAME_x003a__x0020_Modality" minOccurs="0"/>
                <xsd:element ref="ns2:TaskFolder" minOccurs="0"/>
                <xsd:element ref="ns2:AnalysisType" minOccurs="0"/>
                <xsd:element ref="ns2:MediaServiceSearchProperties" minOccurs="0"/>
                <xsd:element ref="ns2:Scientists" minOccurs="0"/>
                <xsd:element ref="ns2:YearUpdate" minOccurs="0"/>
                <xsd:element ref="ns2:MediaServiceDateTaken" minOccurs="0"/>
                <xsd:element ref="ns2:PF" minOccurs="0"/>
                <xsd:element ref="ns2:PF_x003a__x0020_Project" minOccurs="0"/>
                <xsd:element ref="ns3:SharedWithUsers" minOccurs="0"/>
                <xsd:element ref="ns3:SharedWithDetail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5287c9-9ec0-44e9-aea8-3b79883fcb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8f9dd247-5f48-452a-8dc4-ff9a39258e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PFID" ma:index="17" nillable="true" ma:displayName="PFID" ma:format="Dropdown" ma:internalName="PFID">
      <xsd:simpleType>
        <xsd:restriction base="dms:Note">
          <xsd:maxLength value="255"/>
        </xsd:restriction>
      </xsd:simpleType>
    </xsd:element>
    <xsd:element name="Task" ma:index="18" nillable="true" ma:displayName="Task Level" ma:format="Dropdown" ma:internalName="Task">
      <xsd:simpleType>
        <xsd:restriction base="dms:Choice">
          <xsd:enumeration value="Query"/>
          <xsd:enumeration value="General"/>
          <xsd:enumeration value="Initiatives"/>
          <xsd:enumeration value="InitiativeDraft"/>
          <xsd:enumeration value="Follow"/>
        </xsd:restriction>
      </xsd:simpleType>
    </xsd:element>
    <xsd:element name="Topic" ma:index="19" nillable="true" ma:displayName="Category" ma:format="Dropdown" ma:internalName="Topic">
      <xsd:simpleType>
        <xsd:union memberTypes="dms:Text">
          <xsd:simpleType>
            <xsd:restriction base="dms:Choice">
              <xsd:enumeration value="LPQ"/>
              <xsd:enumeration value="Spec"/>
              <xsd:enumeration value="Method Validation"/>
              <xsd:enumeration value="Process Comp"/>
              <xsd:enumeration value="Other"/>
              <xsd:enumeration value="RA/CPP"/>
              <xsd:enumeration value="PGD"/>
              <xsd:enumeration value="General"/>
              <xsd:enumeration value="Digital"/>
              <xsd:enumeration value="Data Clean"/>
              <xsd:enumeration value="Outlier Justify"/>
              <xsd:enumeration value="MasterDataOrg"/>
              <xsd:enumeration value="DevTool"/>
              <xsd:enumeration value="Design"/>
              <xsd:enumeration value="DoE"/>
              <xsd:enumeration value="Presentation"/>
              <xsd:enumeration value="PresentationDraft"/>
              <xsd:enumeration value="Trend Check"/>
              <xsd:enumeration value="Discussion"/>
            </xsd:restriction>
          </xsd:simpleType>
        </xsd:union>
      </xsd:simpleType>
    </xsd:element>
    <xsd:element name="Note" ma:index="20" nillable="true" ma:displayName="Note" ma:format="Dropdown" ma:internalName="Note">
      <xsd:simpleType>
        <xsd:restriction base="dms:Note">
          <xsd:maxLength value="255"/>
        </xsd:restriction>
      </xsd:simpleType>
    </xsd:element>
    <xsd:element name="OldName" ma:index="21" nillable="true" ma:displayName="Old Name" ma:description="If change file/folder Name. Key the old name here." ma:format="Dropdown" ma:internalName="OldName">
      <xsd:simpleType>
        <xsd:restriction base="dms:Text">
          <xsd:maxLength value="255"/>
        </xsd:restriction>
      </xsd:simpleType>
    </xsd:element>
    <xsd:element name="Source" ma:index="22" nillable="true" ma:displayName="Source" ma:format="Dropdown" ma:internalName="Source">
      <xsd:simpleType>
        <xsd:restriction base="dms:Text">
          <xsd:maxLength value="255"/>
        </xsd:restriction>
      </xsd:simpleType>
    </xsd:element>
    <xsd:element name="GDMS" ma:index="23" nillable="true" ma:displayName="GDMS" ma:format="Dropdown" ma:internalName="GDMS">
      <xsd:simpleType>
        <xsd:restriction base="dms:Text">
          <xsd:maxLength value="255"/>
        </xsd:restriction>
      </xsd:simpleType>
    </xsd:element>
    <xsd:element name="DSS" ma:index="24" nillable="true" ma:displayName="DSS" ma:format="Hyperlink" ma:internalName="DSS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DSS_PFID" ma:index="25" nillable="true" ma:displayName="DSS_PFNAME" ma:format="Dropdown" ma:list="f35cca2c-0d71-48ab-b18f-51df4891df6a" ma:internalName="DSS_PFID" ma:showField="StatShortName">
      <xsd:simpleType>
        <xsd:restriction base="dms:Lookup"/>
      </xsd:simpleType>
    </xsd:element>
    <xsd:element name="DSS_PFNAME_x003a__x0020_PF_ID" ma:index="26" nillable="true" ma:displayName="DSS_PFNAME: PF_ID" ma:format="Dropdown" ma:list="f35cca2c-0d71-48ab-b18f-51df4891df6a" ma:internalName="DSS_PFNAME_x003a__x0020_PF_ID" ma:readOnly="true" ma:showField="Title">
      <xsd:simpleType>
        <xsd:restriction base="dms:Lookup"/>
      </xsd:simpleType>
    </xsd:element>
    <xsd:element name="DSS_PFNAME_x003a__x0020_Modality" ma:index="27" nillable="true" ma:displayName="DSS_PFNAME: Modality" ma:format="Dropdown" ma:list="f35cca2c-0d71-48ab-b18f-51df4891df6a" ma:internalName="DSS_PFNAME_x003a__x0020_Modality" ma:readOnly="true" ma:showField="field_2">
      <xsd:simpleType>
        <xsd:restriction base="dms:Lookup"/>
      </xsd:simpleType>
    </xsd:element>
    <xsd:element name="TaskFolder" ma:index="28" nillable="true" ma:displayName="FolderType" ma:format="Dropdown" ma:internalName="TaskFolder">
      <xsd:simpleType>
        <xsd:restriction base="dms:Choice">
          <xsd:enumeration value="Task"/>
          <xsd:enumeration value="DSS"/>
          <xsd:enumeration value="Reference"/>
          <xsd:enumeration value="Slides"/>
        </xsd:restriction>
      </xsd:simpleType>
    </xsd:element>
    <xsd:element name="AnalysisType" ma:index="29" nillable="true" ma:displayName="Analysis Type" ma:format="Dropdown" ma:internalName="AnalysisType">
      <xsd:simpleType>
        <xsd:restriction base="dms:Choice">
          <xsd:enumeration value="LPQ"/>
          <xsd:enumeration value="Comparability"/>
          <xsd:enumeration value="Query Response"/>
          <xsd:enumeration value="Commercial Spec"/>
          <xsd:enumeration value="Stander Curve"/>
        </xsd:restriction>
      </xsd:simple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Scientists" ma:index="31" nillable="true" ma:displayName="Scientists" ma:format="Dropdown" ma:internalName="Scientists">
      <xsd:simpleType>
        <xsd:restriction base="dms:Text">
          <xsd:maxLength value="255"/>
        </xsd:restriction>
      </xsd:simpleType>
    </xsd:element>
    <xsd:element name="YearUpdate" ma:index="32" nillable="true" ma:displayName="YearUpdate" ma:default="2024" ma:format="Dropdown" ma:internalName="YearUpdate">
      <xsd:simpleType>
        <xsd:restriction base="dms:Text">
          <xsd:maxLength value="255"/>
        </xsd:restriction>
      </xsd:simpleType>
    </xsd:element>
    <xsd:element name="MediaServiceDateTaken" ma:index="3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PF" ma:index="34" nillable="true" ma:displayName="PF" ma:format="Dropdown" ma:list="f35cca2c-0d71-48ab-b18f-51df4891df6a" ma:internalName="PF" ma:showField="Title">
      <xsd:simpleType>
        <xsd:restriction base="dms:Lookup"/>
      </xsd:simpleType>
    </xsd:element>
    <xsd:element name="PF_x003a__x0020_Project" ma:index="35" nillable="true" ma:displayName="PF: Project" ma:format="Dropdown" ma:list="f35cca2c-0d71-48ab-b18f-51df4891df6a" ma:internalName="PF_x003a__x0020_Project" ma:readOnly="true" ma:showField="field_0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4c36f9-307a-4932-9b8b-d33a36d6bb5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4a03551-585a-47ec-bedd-263b7af7d935}" ma:internalName="TaxCatchAll" ma:showField="CatchAllData" ma:web="104c36f9-307a-4932-9b8b-d33a36d6bb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3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3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3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4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/>
</file>

<file path=customXml/itemProps1.xml><?xml version="1.0" encoding="utf-8"?>
<ds:datastoreItem xmlns:ds="http://schemas.openxmlformats.org/officeDocument/2006/customXml" ds:itemID="{8BCC5282-63C8-412C-92FE-42DE127958DF}">
  <ds:schemaRefs>
    <ds:schemaRef ds:uri="http://schemas.microsoft.com/office/2006/documentManagement/types"/>
    <ds:schemaRef ds:uri="http://purl.org/dc/dcmitype/"/>
    <ds:schemaRef ds:uri="104c36f9-307a-4932-9b8b-d33a36d6bb58"/>
    <ds:schemaRef ds:uri="http://www.w3.org/XML/1998/namespace"/>
    <ds:schemaRef ds:uri="http://schemas.openxmlformats.org/package/2006/metadata/core-properties"/>
    <ds:schemaRef ds:uri="aa5287c9-9ec0-44e9-aea8-3b79883fcb13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5E452DF-F59E-40C5-A41D-DA4F245C0D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CE59A2-EAE1-48C1-BB22-40BF5799B3F0}">
  <ds:schemaRefs>
    <ds:schemaRef ds:uri="104c36f9-307a-4932-9b8b-d33a36d6bb58"/>
    <ds:schemaRef ds:uri="aa5287c9-9ec0-44e9-aea8-3b79883fcb1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0FC1B08E-8085-4EEC-9E1A-2CF95F7F4D1F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fizer PRD Template 2024</Template>
  <TotalTime>623</TotalTime>
  <Words>897</Words>
  <Application>Microsoft Office PowerPoint</Application>
  <PresentationFormat>Widescreen</PresentationFormat>
  <Paragraphs>173</Paragraphs>
  <Slides>17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ptos</vt:lpstr>
      <vt:lpstr>Arial</vt:lpstr>
      <vt:lpstr>Arial Narrow</vt:lpstr>
      <vt:lpstr>Calibri</vt:lpstr>
      <vt:lpstr>Pfizer Diatype Office</vt:lpstr>
      <vt:lpstr>Pfizer Tomorrow</vt:lpstr>
      <vt:lpstr>Roboto</vt:lpstr>
      <vt:lpstr>Pfizer PRD Template 2024</vt:lpstr>
      <vt:lpstr>think-cell Slide</vt:lpstr>
      <vt:lpstr>Leveraging an Experimental Database to Inform an OMARS Designed Experiment</vt:lpstr>
      <vt:lpstr>General Bioprocess Flow for Drug Substance</vt:lpstr>
      <vt:lpstr>Outline</vt:lpstr>
      <vt:lpstr>Building a Historical Database</vt:lpstr>
      <vt:lpstr>Combining Studies for Any Process Step: Challenges</vt:lpstr>
      <vt:lpstr>Prepare Database and Dashboard in Dataiku</vt:lpstr>
      <vt:lpstr>Dashboard: Data to Knowledge</vt:lpstr>
      <vt:lpstr>Dashboard: Data to Knowledge</vt:lpstr>
      <vt:lpstr>Dashboard: Data to Knowledge</vt:lpstr>
      <vt:lpstr>Using the Database to Inform OMARS Design</vt:lpstr>
      <vt:lpstr>Request 24-run study with 6 factors</vt:lpstr>
      <vt:lpstr>OMARS design</vt:lpstr>
      <vt:lpstr>Using the database to inform design choices</vt:lpstr>
      <vt:lpstr>Using the database to inform design choices</vt:lpstr>
      <vt:lpstr>Summary</vt:lpstr>
      <vt:lpstr>Reference</vt:lpstr>
      <vt:lpstr>Acknowledg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ickey, Katie</dc:creator>
  <cp:lastModifiedBy>Wang, Peili</cp:lastModifiedBy>
  <cp:revision>28</cp:revision>
  <dcterms:created xsi:type="dcterms:W3CDTF">2025-04-24T18:57:59Z</dcterms:created>
  <dcterms:modified xsi:type="dcterms:W3CDTF">2025-06-10T14:2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791b42f-c435-42ca-9531-75a3f42aae3d_Enabled">
    <vt:lpwstr>true</vt:lpwstr>
  </property>
  <property fmtid="{D5CDD505-2E9C-101B-9397-08002B2CF9AE}" pid="3" name="MSIP_Label_4791b42f-c435-42ca-9531-75a3f42aae3d_SetDate">
    <vt:lpwstr>2025-04-24T19:50:23Z</vt:lpwstr>
  </property>
  <property fmtid="{D5CDD505-2E9C-101B-9397-08002B2CF9AE}" pid="4" name="MSIP_Label_4791b42f-c435-42ca-9531-75a3f42aae3d_Method">
    <vt:lpwstr>Privileged</vt:lpwstr>
  </property>
  <property fmtid="{D5CDD505-2E9C-101B-9397-08002B2CF9AE}" pid="5" name="MSIP_Label_4791b42f-c435-42ca-9531-75a3f42aae3d_Name">
    <vt:lpwstr>4791b42f-c435-42ca-9531-75a3f42aae3d</vt:lpwstr>
  </property>
  <property fmtid="{D5CDD505-2E9C-101B-9397-08002B2CF9AE}" pid="6" name="MSIP_Label_4791b42f-c435-42ca-9531-75a3f42aae3d_SiteId">
    <vt:lpwstr>7a916015-20ae-4ad1-9170-eefd915e9272</vt:lpwstr>
  </property>
  <property fmtid="{D5CDD505-2E9C-101B-9397-08002B2CF9AE}" pid="7" name="MSIP_Label_4791b42f-c435-42ca-9531-75a3f42aae3d_ActionId">
    <vt:lpwstr>ce03c94d-2884-4160-bd03-70263b37f528</vt:lpwstr>
  </property>
  <property fmtid="{D5CDD505-2E9C-101B-9397-08002B2CF9AE}" pid="8" name="MSIP_Label_4791b42f-c435-42ca-9531-75a3f42aae3d_ContentBits">
    <vt:lpwstr>0</vt:lpwstr>
  </property>
  <property fmtid="{D5CDD505-2E9C-101B-9397-08002B2CF9AE}" pid="9" name="MSIP_Label_4791b42f-c435-42ca-9531-75a3f42aae3d_Tag">
    <vt:lpwstr>10, 0, 1, 1</vt:lpwstr>
  </property>
  <property fmtid="{D5CDD505-2E9C-101B-9397-08002B2CF9AE}" pid="10" name="ContentTypeId">
    <vt:lpwstr>0x0101009CC5FF1648B173449A08C877F8DF1B8C</vt:lpwstr>
  </property>
  <property fmtid="{D5CDD505-2E9C-101B-9397-08002B2CF9AE}" pid="11" name="_dlc_DocIdItemGuid">
    <vt:lpwstr>c3057953-6e00-48f5-aa83-ef42029f663d</vt:lpwstr>
  </property>
  <property fmtid="{D5CDD505-2E9C-101B-9397-08002B2CF9AE}" pid="12" name="MediaServiceImageTags">
    <vt:lpwstr/>
  </property>
</Properties>
</file>